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322" r:id="rId5"/>
    <p:sldId id="2134804081" r:id="rId6"/>
    <p:sldId id="2134804082" r:id="rId7"/>
    <p:sldId id="2134804083" r:id="rId8"/>
    <p:sldId id="2134804084" r:id="rId9"/>
    <p:sldId id="2134804086" r:id="rId10"/>
    <p:sldId id="2134804080" r:id="rId11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757"/>
    <a:srgbClr val="285172"/>
    <a:srgbClr val="FFFFFF"/>
    <a:srgbClr val="7F7F7F"/>
    <a:srgbClr val="6C955E"/>
    <a:srgbClr val="D0D0D0"/>
    <a:srgbClr val="8094AF"/>
    <a:srgbClr val="BBD03A"/>
    <a:srgbClr val="CACACA"/>
    <a:srgbClr val="5757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A8DEB8F-55D6-4626-9752-8C734B48C6F8}" v="5" dt="2023-04-21T08:35:51.3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uerzburg, Markus" userId="73320912-61ba-4c58-8956-59d384d7b94a" providerId="ADAL" clId="{8A8DEB8F-55D6-4626-9752-8C734B48C6F8}"/>
    <pc:docChg chg="modSld">
      <pc:chgData name="Wuerzburg, Markus" userId="73320912-61ba-4c58-8956-59d384d7b94a" providerId="ADAL" clId="{8A8DEB8F-55D6-4626-9752-8C734B48C6F8}" dt="2023-04-21T08:35:51.339" v="0" actId="14100"/>
      <pc:docMkLst>
        <pc:docMk/>
      </pc:docMkLst>
      <pc:sldChg chg="modSp mod">
        <pc:chgData name="Wuerzburg, Markus" userId="73320912-61ba-4c58-8956-59d384d7b94a" providerId="ADAL" clId="{8A8DEB8F-55D6-4626-9752-8C734B48C6F8}" dt="2023-04-21T08:35:51.339" v="0" actId="14100"/>
        <pc:sldMkLst>
          <pc:docMk/>
          <pc:sldMk cId="1444423855" sldId="2134804086"/>
        </pc:sldMkLst>
        <pc:picChg chg="mod">
          <ac:chgData name="Wuerzburg, Markus" userId="73320912-61ba-4c58-8956-59d384d7b94a" providerId="ADAL" clId="{8A8DEB8F-55D6-4626-9752-8C734B48C6F8}" dt="2023-04-21T08:35:51.339" v="0" actId="14100"/>
          <ac:picMkLst>
            <pc:docMk/>
            <pc:sldMk cId="1444423855" sldId="2134804086"/>
            <ac:picMk id="5" creationId="{5063F697-AB9D-FAD4-DC97-900FD2388E67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810D8D-68EF-104F-897B-400E5A86AC0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04400" y="8655069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fld id="{17A3870A-23B3-8C42-9680-396FBEA6B6AD}" type="slidenum">
              <a:rPr lang="de-DE" sz="1000" b="1">
                <a:solidFill>
                  <a:schemeClr val="tx2"/>
                </a:solidFill>
                <a:cs typeface="Arial" panose="020B0604020202020204" pitchFamily="34" charset="0"/>
              </a:rPr>
              <a:pPr algn="r"/>
              <a:t>‹#›</a:t>
            </a:fld>
            <a:endParaRPr lang="de-DE" sz="1000" b="1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2"/>
          </p:nvPr>
        </p:nvSpPr>
        <p:spPr>
          <a:xfrm>
            <a:off x="590400" y="8655069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r>
              <a:rPr lang="de-DE" sz="1000">
                <a:solidFill>
                  <a:schemeClr val="accent1"/>
                </a:solidFill>
                <a:cs typeface="Arial" panose="020B0604020202020204" pitchFamily="34" charset="0"/>
              </a:rPr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402407393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2" pos="4112" userDrawn="1">
          <p15:clr>
            <a:srgbClr val="F26B43"/>
          </p15:clr>
        </p15:guide>
        <p15:guide id="3" pos="189" userDrawn="1">
          <p15:clr>
            <a:srgbClr val="F26B43"/>
          </p15:clr>
        </p15:guide>
        <p15:guide id="4" orient="horz" pos="187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26035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00038" y="3607358"/>
            <a:ext cx="6227762" cy="451522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04400" y="8654400"/>
            <a:ext cx="4320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algn="r"/>
            <a:fld id="{7D817C07-CE16-5C41-9ABD-94C73CEF6061}" type="slidenum">
              <a:rPr lang="de-DE"/>
              <a:pPr algn="r"/>
              <a:t>‹#›</a:t>
            </a:fld>
            <a:endParaRPr lang="de-DE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4"/>
          </p:nvPr>
        </p:nvSpPr>
        <p:spPr>
          <a:xfrm>
            <a:off x="590400" y="8654400"/>
            <a:ext cx="2743200" cy="30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de-DE" sz="100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Name | Abteilung | 30. Januar 2019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45305254-F1F9-7548-8E41-35654082B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800" y="842331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410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288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32000" indent="-144000" algn="l" defTabSz="914400" rtl="0" eaLnBrk="1" latinLnBrk="0" hangingPunct="1">
      <a:spcBef>
        <a:spcPts val="500"/>
      </a:spcBef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189" userDrawn="1">
          <p15:clr>
            <a:srgbClr val="F26B43"/>
          </p15:clr>
        </p15:guide>
        <p15:guide id="2" pos="4112" userDrawn="1">
          <p15:clr>
            <a:srgbClr val="F26B43"/>
          </p15:clr>
        </p15:guide>
        <p15:guide id="3" orient="horz" pos="16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7252486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859968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/>
              <a:t>Bisherige Lernerfahrung</a:t>
            </a:r>
          </a:p>
          <a:p>
            <a:pPr marL="285750" indent="-285750" algn="l">
              <a:buFontTx/>
              <a:buChar char="-"/>
            </a:pPr>
            <a:r>
              <a:rPr lang="de-DE"/>
              <a:t>Change Management  darf nicht unterschätzt werden</a:t>
            </a:r>
          </a:p>
          <a:p>
            <a:pPr marL="285750" indent="-285750" algn="l">
              <a:buFontTx/>
              <a:buChar char="-"/>
            </a:pPr>
            <a:r>
              <a:rPr lang="de-DE"/>
              <a:t>Kompromisse machen hinsichtlich Zusammenarbeit (z.B. Maschinennutzung, Demobetrieb, etc.)</a:t>
            </a:r>
          </a:p>
          <a:p>
            <a:pPr marL="285750" indent="-285750" algn="l">
              <a:buFontTx/>
              <a:buChar char="-"/>
            </a:pP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31529094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l">
              <a:buFontTx/>
              <a:buChar char="-"/>
            </a:pP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7469497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l">
              <a:buFontTx/>
              <a:buChar char="-"/>
            </a:pP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11303992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r"/>
            <a:fld id="{7D817C07-CE16-5C41-9ABD-94C73CEF6061}" type="slidenum">
              <a:rPr lang="de-DE" smtClean="0"/>
              <a:pPr algn="r"/>
              <a:t>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Name | Abteilung | 30. Januar 2019</a:t>
            </a:r>
          </a:p>
        </p:txBody>
      </p:sp>
    </p:spTree>
    <p:extLst>
      <p:ext uri="{BB962C8B-B14F-4D97-AF65-F5344CB8AC3E}">
        <p14:creationId xmlns:p14="http://schemas.microsoft.com/office/powerpoint/2010/main" val="515190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3.png"/><Relationship Id="rId4" Type="http://schemas.openxmlformats.org/officeDocument/2006/relationships/hyperlink" Target="http://www.trumpf.com/" TargetMode="Externa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3.png"/><Relationship Id="rId4" Type="http://schemas.openxmlformats.org/officeDocument/2006/relationships/hyperlink" Target="http://www.trumpf.com/" TargetMode="Externa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 Titl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61F7B8DE-74C3-45A1-9176-E149ECFB201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74" y="0"/>
            <a:ext cx="12188825" cy="6858000"/>
          </a:xfrm>
          <a:custGeom>
            <a:avLst/>
            <a:gdLst>
              <a:gd name="connsiteX0" fmla="*/ 0 w 12188825"/>
              <a:gd name="connsiteY0" fmla="*/ 0 h 6858000"/>
              <a:gd name="connsiteX1" fmla="*/ 12188825 w 12188825"/>
              <a:gd name="connsiteY1" fmla="*/ 0 h 6858000"/>
              <a:gd name="connsiteX2" fmla="*/ 12188825 w 12188825"/>
              <a:gd name="connsiteY2" fmla="*/ 6858000 h 6858000"/>
              <a:gd name="connsiteX3" fmla="*/ 0 w 12188825"/>
              <a:gd name="connsiteY3" fmla="*/ 6858000 h 6858000"/>
              <a:gd name="connsiteX4" fmla="*/ 0 w 12188825"/>
              <a:gd name="connsiteY4" fmla="*/ 6262256 h 6858000"/>
              <a:gd name="connsiteX5" fmla="*/ 5387301 w 12188825"/>
              <a:gd name="connsiteY5" fmla="*/ 6262256 h 6858000"/>
              <a:gd name="connsiteX6" fmla="*/ 5387301 w 12188825"/>
              <a:gd name="connsiteY6" fmla="*/ 3043223 h 6858000"/>
              <a:gd name="connsiteX7" fmla="*/ 0 w 12188825"/>
              <a:gd name="connsiteY7" fmla="*/ 304322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825" h="6858000">
                <a:moveTo>
                  <a:pt x="0" y="0"/>
                </a:moveTo>
                <a:lnTo>
                  <a:pt x="12188825" y="0"/>
                </a:lnTo>
                <a:lnTo>
                  <a:pt x="12188825" y="6858000"/>
                </a:lnTo>
                <a:lnTo>
                  <a:pt x="0" y="6858000"/>
                </a:lnTo>
                <a:lnTo>
                  <a:pt x="0" y="6262256"/>
                </a:lnTo>
                <a:lnTo>
                  <a:pt x="5387301" y="6262256"/>
                </a:lnTo>
                <a:lnTo>
                  <a:pt x="5387301" y="3043223"/>
                </a:lnTo>
                <a:lnTo>
                  <a:pt x="0" y="304322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endParaRPr lang="de-DE"/>
          </a:p>
          <a:p>
            <a:pPr lvl="0" algn="ctr"/>
            <a:endParaRPr lang="de-DE"/>
          </a:p>
          <a:p>
            <a:pPr lvl="0" algn="ctr"/>
            <a:endParaRPr lang="de-DE"/>
          </a:p>
          <a:p>
            <a:pPr lvl="0" algn="ctr"/>
            <a:endParaRPr lang="de-DE"/>
          </a:p>
          <a:p>
            <a:pPr lvl="0" algn="ctr"/>
            <a:r>
              <a:rPr lang="de-DE"/>
              <a:t>Bild durch Klicken auf Symbol hinzufügen I 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</a:t>
            </a:r>
            <a:r>
              <a:rPr lang="de-DE" err="1"/>
              <a:t>icon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6805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098351"/>
            <a:ext cx="4782950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 I </a:t>
            </a:r>
            <a:r>
              <a:rPr lang="de-DE" err="1"/>
              <a:t>O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7" y="4329257"/>
            <a:ext cx="4782951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5824879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Jeanette Thumm Update </a:t>
            </a:r>
            <a:r>
              <a:rPr lang="de-DE" err="1"/>
              <a:t>Empower</a:t>
            </a:r>
            <a:endParaRPr lang="de-DE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62ED6E0A-5812-49BA-9B01-F8D9CF54412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07958" y="3174416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05602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Text ohne Hintergrund links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52966113-C76A-418D-A5A5-4F949147C15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174"/>
            <a:ext cx="6096000" cy="6854821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5951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648D76BE-D7BB-054B-939E-03F12B816684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28805" y="1490868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7A6900E-2103-0E4A-BADA-73F03F00FA9E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28805" y="3775223"/>
            <a:ext cx="5164043" cy="498707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B32E3D2-3756-DC48-AAD3-DC06050CE6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51928"/>
            <a:ext cx="5148262" cy="629148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185099C-4D22-408C-B783-C83493FA51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624" y="2087363"/>
            <a:ext cx="514826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9B950335-33C7-4174-B814-7F1D09EB8FC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35816" y="4400550"/>
            <a:ext cx="514826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EF47FE27-85AE-4D2E-970A-B8617AC377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ED3A61B7-AF6D-4802-9BC2-D6C1E0F850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3" name="Datumsplatzhalter 8">
            <a:extLst>
              <a:ext uri="{FF2B5EF4-FFF2-40B4-BE49-F238E27FC236}">
                <a16:creationId xmlns:a16="http://schemas.microsoft.com/office/drawing/2014/main" id="{981CBBCE-2F50-4DAA-8EEF-BE13E37894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121310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502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BE2BDB5E-62B9-D04A-B1DD-8A52A7DB93A2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6096000" y="342900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333C2A2D-4CA3-DF47-8E60-5FF58CF3A733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6096000" y="0"/>
            <a:ext cx="6096002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cxnSp>
        <p:nvCxnSpPr>
          <p:cNvPr id="24" name="Gerade Verbindung 2">
            <a:extLst>
              <a:ext uri="{FF2B5EF4-FFF2-40B4-BE49-F238E27FC236}">
                <a16:creationId xmlns:a16="http://schemas.microsoft.com/office/drawing/2014/main" id="{3359F94B-516A-4AD9-887B-36C3FE5A9DC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3429000"/>
            <a:ext cx="609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30AF51F-D691-1542-9D10-302D5F40526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28806" y="1474163"/>
            <a:ext cx="5144104" cy="429133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A23CFF2-F559-F74E-8130-4F216473CC9A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28806" y="3758519"/>
            <a:ext cx="5144104" cy="429134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id="{85A74C18-DD35-1E41-97BE-603FD5CB42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8531" y="333375"/>
            <a:ext cx="5145669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16377AD8-A9E5-4F78-921C-ECD8EB6035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624" y="2020961"/>
            <a:ext cx="512838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F813E7D0-3743-42F7-BD0B-0172EE571E3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35816" y="4400550"/>
            <a:ext cx="5128384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8" name="Foliennummernplatzhalter 5">
            <a:extLst>
              <a:ext uri="{FF2B5EF4-FFF2-40B4-BE49-F238E27FC236}">
                <a16:creationId xmlns:a16="http://schemas.microsoft.com/office/drawing/2014/main" id="{E82BC249-56FB-4B16-99D0-ED022CE2D9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9" name="Fußzeilenplatzhalter 3">
            <a:extLst>
              <a:ext uri="{FF2B5EF4-FFF2-40B4-BE49-F238E27FC236}">
                <a16:creationId xmlns:a16="http://schemas.microsoft.com/office/drawing/2014/main" id="{BA60D1CF-87A2-4E5C-B614-BB50A6BB50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8DF9F61A-EB57-4769-AE60-5C6DB24E57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16951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5BBCA1C-5361-4EFC-ADD1-319A28D03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0845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5BBCA1C-5361-4EFC-ADD1-319A28D03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Bildplatzhalter 31">
            <a:extLst>
              <a:ext uri="{FF2B5EF4-FFF2-40B4-BE49-F238E27FC236}">
                <a16:creationId xmlns:a16="http://schemas.microsoft.com/office/drawing/2014/main" id="{34189E02-004A-3B45-B64D-B17613D553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345700" cy="6839277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A36E4C5-B34F-A34D-B704-44E7C5E02A0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838273" y="1473639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9A29746E-65FE-F542-B2CE-F671A8834222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838274" y="3747051"/>
            <a:ext cx="7866365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EF23026A-C489-5144-8F71-E23153F1C2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36733" y="333376"/>
            <a:ext cx="7901402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BFA4FDA-F0D7-4446-89CE-C26F34C800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8273" y="2115232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5D26A09-7D14-40D0-A365-2AEE6BBCCDC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836987" y="4394546"/>
            <a:ext cx="7866365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7CF7466D-0F01-40F1-94E3-AF5BB86D8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0163" y="6327352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7" name="Fußzeilenplatzhalter 3">
            <a:extLst>
              <a:ext uri="{FF2B5EF4-FFF2-40B4-BE49-F238E27FC236}">
                <a16:creationId xmlns:a16="http://schemas.microsoft.com/office/drawing/2014/main" id="{4EAA6B20-26A8-45CC-9C95-68B14A328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0886" y="6327353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2FF53B4A-334E-4924-BF1C-438DB6679D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26699" y="6330528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876556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links + Tex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DDBA651D-E114-4607-9889-C311A38131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8225" y="-19051"/>
            <a:ext cx="3362151" cy="344803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61E63147-F22B-4A04-A594-4BBFA5D7C5B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8224" y="3428999"/>
            <a:ext cx="3362151" cy="341947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5E42E98-370F-437C-AD70-D37D3BE5AC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4943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5E42E98-370F-437C-AD70-D37D3BE5AC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34098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E45B7302-96D1-45E3-82A1-018C8521A1D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827463" y="1493517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D443E838-AED4-45A0-A99B-6CE8316CABF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827463" y="3747051"/>
            <a:ext cx="784860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5DCE0CC1-357A-4170-AD6E-9341D889E5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27463" y="333375"/>
            <a:ext cx="7848600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DB07444C-CE66-4BC0-B330-E8F4D0570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7462" y="2115232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98F4914-3738-4F17-807C-2D2F0CDD958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3827463" y="4394546"/>
            <a:ext cx="784860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01E1C9EC-540D-4357-872A-5F104DBD7D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4968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15D42A8F-4D51-4FA1-AE6D-2460CB2B65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3041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0E903174-228A-48D5-BA67-1EB0CAE8BD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3622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553304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2411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7958B8C8-CAFE-42A7-8053-5C66C74F1E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46300" y="0"/>
            <a:ext cx="3345700" cy="6839277"/>
          </a:xfrm>
          <a:custGeom>
            <a:avLst/>
            <a:gdLst>
              <a:gd name="connsiteX0" fmla="*/ 1351215 w 3345700"/>
              <a:gd name="connsiteY0" fmla="*/ 6078036 h 6839277"/>
              <a:gd name="connsiteX1" fmla="*/ 1351215 w 3345700"/>
              <a:gd name="connsiteY1" fmla="*/ 6655074 h 6839277"/>
              <a:gd name="connsiteX2" fmla="*/ 3064869 w 3345700"/>
              <a:gd name="connsiteY2" fmla="*/ 6655074 h 6839277"/>
              <a:gd name="connsiteX3" fmla="*/ 3064869 w 3345700"/>
              <a:gd name="connsiteY3" fmla="*/ 6078036 h 6839277"/>
              <a:gd name="connsiteX4" fmla="*/ 0 w 3345700"/>
              <a:gd name="connsiteY4" fmla="*/ 0 h 6839277"/>
              <a:gd name="connsiteX5" fmla="*/ 3345700 w 3345700"/>
              <a:gd name="connsiteY5" fmla="*/ 0 h 6839277"/>
              <a:gd name="connsiteX6" fmla="*/ 3345700 w 3345700"/>
              <a:gd name="connsiteY6" fmla="*/ 6839277 h 6839277"/>
              <a:gd name="connsiteX7" fmla="*/ 0 w 3345700"/>
              <a:gd name="connsiteY7" fmla="*/ 6839277 h 6839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45700" h="6839277">
                <a:moveTo>
                  <a:pt x="1351215" y="6078036"/>
                </a:moveTo>
                <a:lnTo>
                  <a:pt x="1351215" y="6655074"/>
                </a:lnTo>
                <a:lnTo>
                  <a:pt x="3064869" y="6655074"/>
                </a:lnTo>
                <a:lnTo>
                  <a:pt x="3064869" y="6078036"/>
                </a:lnTo>
                <a:close/>
                <a:moveTo>
                  <a:pt x="0" y="0"/>
                </a:moveTo>
                <a:lnTo>
                  <a:pt x="3345700" y="0"/>
                </a:lnTo>
                <a:lnTo>
                  <a:pt x="3345700" y="6839277"/>
                </a:lnTo>
                <a:lnTo>
                  <a:pt x="0" y="683927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6868568-F595-3A49-81B7-E70EE5D7CE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540" y="340234"/>
            <a:ext cx="7824478" cy="853467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C2EBE95-CD31-5247-9471-79AD41C155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22992" cy="362273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3AB03A04-FA85-42CF-9FF6-36EBA9F67533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6044BCB-E4BE-4F27-9EEC-5E1B167E15A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978D86B-2F1D-4155-8EBB-0B5C72E829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DED4F96-1124-4A3E-9972-17B591BBD57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97B837A3-6F35-4DC0-B459-C97E280C61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BEC7606E-95C9-4069-B619-8218429B5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4" name="Datumsplatzhalter 8">
            <a:extLst>
              <a:ext uri="{FF2B5EF4-FFF2-40B4-BE49-F238E27FC236}">
                <a16:creationId xmlns:a16="http://schemas.microsoft.com/office/drawing/2014/main" id="{83D96F44-6146-4F95-A800-8EF5BCA7B0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524855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205BD9-5B50-4C73-A3B8-2BDDDF581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0778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1205BD9-5B50-4C73-A3B8-2BDDDF581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>
            <a:extLst>
              <a:ext uri="{FF2B5EF4-FFF2-40B4-BE49-F238E27FC236}">
                <a16:creationId xmlns:a16="http://schemas.microsoft.com/office/drawing/2014/main" id="{E6193698-66BD-41AB-9D47-C3D4932D23BF}"/>
              </a:ext>
            </a:extLst>
          </p:cNvPr>
          <p:cNvSpPr/>
          <p:nvPr userDrawn="1"/>
        </p:nvSpPr>
        <p:spPr>
          <a:xfrm>
            <a:off x="8446501" y="6369049"/>
            <a:ext cx="1789699" cy="3059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22" name="Bildplatzhalter 31">
            <a:extLst>
              <a:ext uri="{FF2B5EF4-FFF2-40B4-BE49-F238E27FC236}">
                <a16:creationId xmlns:a16="http://schemas.microsoft.com/office/drawing/2014/main" id="{8565B0AF-2EF3-9643-8325-EFFCEBCDAA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46300" y="3432175"/>
            <a:ext cx="3345700" cy="3430904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20" name="Bildplatzhalter 31">
            <a:extLst>
              <a:ext uri="{FF2B5EF4-FFF2-40B4-BE49-F238E27FC236}">
                <a16:creationId xmlns:a16="http://schemas.microsoft.com/office/drawing/2014/main" id="{F9C7625C-CB5B-A54F-BA62-2F69D7398A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46300" y="0"/>
            <a:ext cx="3345700" cy="3432175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EC3C38D3-F2CD-F847-854A-F18BC84ED701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846300" y="3424319"/>
            <a:ext cx="3345700" cy="93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6A6F16D8-28EB-46C9-B487-E4B81E4E7E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7822992" cy="381146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09652BC6-649B-407D-AAAC-6AD6B0C8574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14540" y="1473639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C0DA878B-BA4F-46E0-B9EB-334B81905DE1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514540" y="3747051"/>
            <a:ext cx="7822992" cy="46132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11C3680E-2986-4889-A89A-327082B407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539" y="2115232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0BCBEA8-0FA1-4BA6-9ADE-332849CF2BC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2303" y="4394546"/>
            <a:ext cx="7822992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8EBD6288-B15B-4572-9A5F-05C670A36F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7" name="Fußzeilenplatzhalter 3">
            <a:extLst>
              <a:ext uri="{FF2B5EF4-FFF2-40B4-BE49-F238E27FC236}">
                <a16:creationId xmlns:a16="http://schemas.microsoft.com/office/drawing/2014/main" id="{17BDAA63-A3E9-486A-A4D9-574AD5E811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30" name="Datumsplatzhalter 8">
            <a:extLst>
              <a:ext uri="{FF2B5EF4-FFF2-40B4-BE49-F238E27FC236}">
                <a16:creationId xmlns:a16="http://schemas.microsoft.com/office/drawing/2014/main" id="{C0CE7711-FF4D-497C-9C41-C566C9E2F3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6C8BAD16-C6D0-4B88-BA37-4527FC9F77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3"/>
            <a:ext cx="7839357" cy="482195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</p:spTree>
    <p:extLst>
      <p:ext uri="{BB962C8B-B14F-4D97-AF65-F5344CB8AC3E}">
        <p14:creationId xmlns:p14="http://schemas.microsoft.com/office/powerpoint/2010/main" val="288354899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Bild/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9BE4D5E-F223-472F-BA01-3258DA8E3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484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9BE4D5E-F223-472F-BA01-3258DA8E3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506B0D5E-872C-4EA2-9517-8AA1A6A217FA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FFF51EE3-7AB7-4A96-B157-AE67A6C56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7AA6E59F-80B7-44AD-B609-F98ED1E92B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11" name="Datumsplatzhalter 8">
            <a:extLst>
              <a:ext uri="{FF2B5EF4-FFF2-40B4-BE49-F238E27FC236}">
                <a16:creationId xmlns:a16="http://schemas.microsoft.com/office/drawing/2014/main" id="{26B7E0A8-0331-4C6B-93D9-01894FF354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5101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  <p15:guide id="2" orient="horz" pos="1911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852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478492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 Bilder oh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F6FE709-603B-4CE3-A6FE-984E2796F5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F6FE709-603B-4CE3-A6FE-984E2796F5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6" hasCustomPrompt="1"/>
          </p:nvPr>
        </p:nvSpPr>
        <p:spPr>
          <a:xfrm>
            <a:off x="-1" y="-2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-2" y="3429001"/>
            <a:ext cx="4057200" cy="34290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4067246" y="0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067246" y="3429001"/>
            <a:ext cx="40572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8134803" y="-2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134803" y="3429001"/>
            <a:ext cx="4060800" cy="3430800"/>
          </a:xfrm>
          <a:solidFill>
            <a:schemeClr val="accent2"/>
          </a:solidFill>
        </p:spPr>
        <p:txBody>
          <a:bodyPr anchor="ctr"/>
          <a:lstStyle>
            <a:lvl1pPr algn="ctr"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 hinzufügen I Add a </a:t>
            </a:r>
            <a:r>
              <a:rPr lang="de-DE" err="1"/>
              <a:t>picture</a:t>
            </a:r>
            <a:endParaRPr lang="de-DE"/>
          </a:p>
        </p:txBody>
      </p: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DD3CFE7B-39B7-784F-93B1-D96A90A14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8" y="3429000"/>
            <a:ext cx="12206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E5C11C02-B1D3-FF4F-92AA-ABFA7ADE13F8}"/>
              </a:ext>
            </a:extLst>
          </p:cNvPr>
          <p:cNvCxnSpPr>
            <a:cxnSpLocks/>
          </p:cNvCxnSpPr>
          <p:nvPr userDrawn="1"/>
        </p:nvCxnSpPr>
        <p:spPr>
          <a:xfrm flipV="1">
            <a:off x="8134803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3D9E472F-8ECD-F246-8378-10E784CFF5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7246" y="-2"/>
            <a:ext cx="0" cy="6858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D241B32C-34A2-A044-B688-9EB0C4C617A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33EABACF-D5F6-B646-AF38-4CAEEFD956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32133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F42FFF10-46D2-8046-B800-9186430A3D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65564" y="2731875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E8BC3BF2-8149-EE42-AA13-589D968360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39" name="Textplatzhalter 4">
            <a:extLst>
              <a:ext uri="{FF2B5EF4-FFF2-40B4-BE49-F238E27FC236}">
                <a16:creationId xmlns:a16="http://schemas.microsoft.com/office/drawing/2014/main" id="{2377A126-62FA-3047-BF67-D55D86E836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32133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526DC38D-5CB4-FF4A-A842-246B91AD218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65564" y="6178630"/>
            <a:ext cx="3054096" cy="387798"/>
          </a:xfrm>
          <a:solidFill>
            <a:schemeClr val="bg1"/>
          </a:solidFill>
        </p:spPr>
        <p:txBody>
          <a:bodyPr vert="horz" lIns="216000" tIns="0" rIns="0" bIns="0" rtlCol="0" anchor="ctr">
            <a:noAutofit/>
          </a:bodyPr>
          <a:lstStyle>
            <a:lvl1pPr>
              <a:defRPr lang="de-DE" sz="1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109265813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083">
          <p15:clr>
            <a:srgbClr val="FBAE40"/>
          </p15:clr>
        </p15:guide>
        <p15:guide id="3" pos="559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2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8AEEC6A-1A12-4575-9621-0258FD0661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28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8AEEC6A-1A12-4575-9621-0258FD0661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2D1987D-14E9-3542-B512-DBDE43D895D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338362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E3ACA5D7-A7AE-F84E-91A1-7CA07F24442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338362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E2B1A042-66BA-494C-B41C-4A04ABEE7555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6556766" y="4106636"/>
            <a:ext cx="4296870" cy="1298844"/>
          </a:xfrm>
          <a:solidFill>
            <a:schemeClr val="tx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/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C54ED8A5-7687-D045-93DD-E5A162FBBB5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556766" y="1624693"/>
            <a:ext cx="4296870" cy="247797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507E39A9-8B88-1745-921E-23DF5485CC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B2BA28F4-4398-0D4D-970A-0C25A0C837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20783FE1-8488-4EE5-AEAB-B06C561DD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933653B3-65BD-4DD9-AF10-C6D17D12F8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0" name="Datumsplatzhalter 8">
            <a:extLst>
              <a:ext uri="{FF2B5EF4-FFF2-40B4-BE49-F238E27FC236}">
                <a16:creationId xmlns:a16="http://schemas.microsoft.com/office/drawing/2014/main" id="{BDB00D74-2A43-4F79-930A-66504728E1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582424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 Titel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"/>
            <a:ext cx="12192000" cy="4537494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r>
              <a:rPr lang="de-DE"/>
              <a:t>Bild durch Klicken auf Symbol hinzufügen I 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</a:t>
            </a:r>
            <a:r>
              <a:rPr lang="de-DE" err="1"/>
              <a:t>icon</a:t>
            </a:r>
            <a:endParaRPr lang="en-US"/>
          </a:p>
          <a:p>
            <a:pPr lvl="0" algn="ctr"/>
            <a:endParaRPr lang="de-DE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250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8" y="4817980"/>
            <a:ext cx="869156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 I </a:t>
            </a:r>
            <a:r>
              <a:rPr lang="de-DE" err="1"/>
              <a:t>O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8" y="5064345"/>
            <a:ext cx="8691562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00038" y="6391757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Jeanette Thumm Update </a:t>
            </a:r>
            <a:r>
              <a:rPr lang="de-DE" err="1"/>
              <a:t>Empower</a:t>
            </a:r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1739012-BDAA-4348-838C-987BE3160AD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026151" y="5707580"/>
            <a:ext cx="3021965" cy="101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51666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3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964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FE3D90D-E36A-DF4D-B325-30BCB63A8392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28102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DD658D9-2A23-C34C-95EC-E99E330FF93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156493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EDDAD1E-B130-D34E-948B-3916F99DA932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139977" y="3824355"/>
            <a:ext cx="2913132" cy="9013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77670EE1-D200-8144-A1FC-1B1BAFD9A1B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139977" y="2171808"/>
            <a:ext cx="2913131" cy="1652547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18F34889-3830-004A-B62C-141AADFCE3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28102" y="2161178"/>
            <a:ext cx="2913130" cy="1663178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5F105300-099C-0B47-91CC-29E9AFF39FDC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56493" y="2161178"/>
            <a:ext cx="2913134" cy="1663177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B7CD102-46E1-614C-9351-4A6BFE349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494DA24A-340E-6B4B-A043-B22194E91F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A27814AD-6500-40EB-B3DE-8CA2CE42B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825D8F5F-EEDA-4F89-8CE6-BF5848A8BC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8" name="Datumsplatzhalter 8">
            <a:extLst>
              <a:ext uri="{FF2B5EF4-FFF2-40B4-BE49-F238E27FC236}">
                <a16:creationId xmlns:a16="http://schemas.microsoft.com/office/drawing/2014/main" id="{D6AD6385-5541-41ED-B5E3-EA2E6D84A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0035354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shboard - 6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FD375BA-197B-450B-A78B-15AF039CE7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4999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FD375BA-197B-450B-A78B-15AF039CE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B82F67BF-BE40-D64B-ACE5-494B7E63E13E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449591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E5B6EB5C-F640-184A-9E24-4046A9902A9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449591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6F17F3E8-05AA-C446-8B67-1E5A49390BC0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220202" y="1638415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22A922F-2C05-6746-97A3-05C812F68AC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220202" y="3092570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5F83A5CF-61BE-C94E-AAE3-98EFF67F54A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87990" y="1638415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C3EF4B84-5EC6-5849-A958-4920C35667E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7990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0B8E9C79-850C-6348-9C50-B033D2C1FC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417379" y="3092570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1" name="Bildplatzhalter 5">
            <a:extLst>
              <a:ext uri="{FF2B5EF4-FFF2-40B4-BE49-F238E27FC236}">
                <a16:creationId xmlns:a16="http://schemas.microsoft.com/office/drawing/2014/main" id="{2634FB1A-C6B9-DB44-AAAE-7A946E340F4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417379" y="1638415"/>
            <a:ext cx="2032212" cy="1281600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Bild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7F7EFA98-450D-C244-99FB-D37E9696DBF5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3449591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AA877DA-B07F-D149-8120-35B0BC7FC088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8220202" y="4546727"/>
            <a:ext cx="2545721" cy="1282593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Bildplatzhalter 5">
            <a:extLst>
              <a:ext uri="{FF2B5EF4-FFF2-40B4-BE49-F238E27FC236}">
                <a16:creationId xmlns:a16="http://schemas.microsoft.com/office/drawing/2014/main" id="{C8E47CB9-0991-2C4E-B39B-894C789BCFE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87990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5" name="Bildplatzhalter 5">
            <a:extLst>
              <a:ext uri="{FF2B5EF4-FFF2-40B4-BE49-F238E27FC236}">
                <a16:creationId xmlns:a16="http://schemas.microsoft.com/office/drawing/2014/main" id="{C682EDD5-0E6C-8042-AEF0-BC172E22874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417379" y="4546727"/>
            <a:ext cx="2032212" cy="12825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D7A2374B-7FB7-2142-A056-F13A4C51F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80762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995C2DE4-BA82-624C-B54A-6E673D295F0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B96E0D9B-C5D5-41D4-9A09-9984649B6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98A57A3B-A8BB-46BE-952C-2FD7576C4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33" name="Datumsplatzhalter 8">
            <a:extLst>
              <a:ext uri="{FF2B5EF4-FFF2-40B4-BE49-F238E27FC236}">
                <a16:creationId xmlns:a16="http://schemas.microsoft.com/office/drawing/2014/main" id="{398E2729-16E7-462C-A3B8-1BB6CA79A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0355166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/ Bild mit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270C4C5-5317-4919-8DB5-0485BE30CDC2}"/>
              </a:ext>
            </a:extLst>
          </p:cNvPr>
          <p:cNvSpPr/>
          <p:nvPr userDrawn="1"/>
        </p:nvSpPr>
        <p:spPr>
          <a:xfrm>
            <a:off x="10274300" y="6070600"/>
            <a:ext cx="1746463" cy="592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D8653A3-71E5-4997-B94D-F2FFDBEE6BE9}"/>
              </a:ext>
            </a:extLst>
          </p:cNvPr>
          <p:cNvSpPr/>
          <p:nvPr userDrawn="1"/>
        </p:nvSpPr>
        <p:spPr>
          <a:xfrm>
            <a:off x="10020300" y="1196975"/>
            <a:ext cx="2171700" cy="5661025"/>
          </a:xfrm>
          <a:custGeom>
            <a:avLst/>
            <a:gdLst>
              <a:gd name="connsiteX0" fmla="*/ 286809 w 2171700"/>
              <a:gd name="connsiteY0" fmla="*/ 4870854 h 5661025"/>
              <a:gd name="connsiteX1" fmla="*/ 286809 w 2171700"/>
              <a:gd name="connsiteY1" fmla="*/ 5447892 h 5661025"/>
              <a:gd name="connsiteX2" fmla="*/ 2000463 w 2171700"/>
              <a:gd name="connsiteY2" fmla="*/ 5447892 h 5661025"/>
              <a:gd name="connsiteX3" fmla="*/ 2000463 w 2171700"/>
              <a:gd name="connsiteY3" fmla="*/ 4870854 h 5661025"/>
              <a:gd name="connsiteX4" fmla="*/ 0 w 2171700"/>
              <a:gd name="connsiteY4" fmla="*/ 0 h 5661025"/>
              <a:gd name="connsiteX5" fmla="*/ 2171700 w 2171700"/>
              <a:gd name="connsiteY5" fmla="*/ 0 h 5661025"/>
              <a:gd name="connsiteX6" fmla="*/ 2171700 w 2171700"/>
              <a:gd name="connsiteY6" fmla="*/ 5661025 h 5661025"/>
              <a:gd name="connsiteX7" fmla="*/ 0 w 2171700"/>
              <a:gd name="connsiteY7" fmla="*/ 5661025 h 566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71700" h="5661025">
                <a:moveTo>
                  <a:pt x="286809" y="4870854"/>
                </a:moveTo>
                <a:lnTo>
                  <a:pt x="286809" y="5447892"/>
                </a:lnTo>
                <a:lnTo>
                  <a:pt x="2000463" y="5447892"/>
                </a:lnTo>
                <a:lnTo>
                  <a:pt x="2000463" y="4870854"/>
                </a:lnTo>
                <a:close/>
                <a:moveTo>
                  <a:pt x="0" y="0"/>
                </a:moveTo>
                <a:lnTo>
                  <a:pt x="2171700" y="0"/>
                </a:lnTo>
                <a:lnTo>
                  <a:pt x="2171700" y="5661025"/>
                </a:lnTo>
                <a:lnTo>
                  <a:pt x="0" y="5661025"/>
                </a:lnTo>
                <a:close/>
              </a:path>
            </a:pathLst>
          </a:cu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5C21B50-9205-9E45-A51B-C7638C012CF6}"/>
              </a:ext>
            </a:extLst>
          </p:cNvPr>
          <p:cNvSpPr txBox="1"/>
          <p:nvPr userDrawn="1"/>
        </p:nvSpPr>
        <p:spPr>
          <a:xfrm>
            <a:off x="10144488" y="1482436"/>
            <a:ext cx="18762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>
                <a:latin typeface="+mj-lt"/>
                <a:cs typeface="Segoe UI" panose="020B0502040204020203" pitchFamily="34" charset="0"/>
              </a:rPr>
              <a:t>Text einfügen</a:t>
            </a: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397EF706-7C9F-8F47-99F9-1F6571D0AE74}"/>
              </a:ext>
            </a:extLst>
          </p:cNvPr>
          <p:cNvSpPr txBox="1">
            <a:spLocks/>
          </p:cNvSpPr>
          <p:nvPr userDrawn="1"/>
        </p:nvSpPr>
        <p:spPr>
          <a:xfrm>
            <a:off x="0" y="1196974"/>
            <a:ext cx="10020300" cy="5661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F2400B66-29C2-FD4B-95E4-1236F408EEF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0" y="1196975"/>
            <a:ext cx="10020300" cy="5661025"/>
          </a:xfrm>
          <a:solidFill>
            <a:schemeClr val="accent2"/>
          </a:solidFill>
        </p:spPr>
        <p:txBody>
          <a:bodyPr anchor="ctr"/>
          <a:lstStyle>
            <a:lvl1pPr algn="ctr">
              <a:buFontTx/>
              <a:buNone/>
              <a:defRPr sz="2000" b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endParaRPr lang="de-DE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DA26AA71-8B6A-C840-BEF6-D2B61C904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40234"/>
            <a:ext cx="11160125" cy="662611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8BD1B383-FEFA-44B4-B800-D5FFD0DDC7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F751BBC-031E-42A8-BA7F-DB4862A086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07109" y="6067829"/>
            <a:ext cx="1713654" cy="577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407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2">
          <p15:clr>
            <a:srgbClr val="FBAE40"/>
          </p15:clr>
        </p15:guide>
        <p15:guide id="2" orient="horz" pos="754">
          <p15:clr>
            <a:srgbClr val="FBAE40"/>
          </p15:clr>
        </p15:guide>
        <p15:guide id="3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7294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607F26A-0D43-4441-932E-EA35304503E9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2149214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0294D4CF-D366-5D43-AACC-3E4C1423EC3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017206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72B9EA2-21CB-4DDA-A24D-1EA0D4704954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7935482" y="3149826"/>
            <a:ext cx="2117590" cy="2895045"/>
          </a:xfrm>
          <a:solidFill>
            <a:schemeClr val="accent3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96513A13-432C-4044-9AD4-9E9F449A69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149214" y="1549734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48AE97E9-DA3B-4912-9CB9-8A97F0412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17205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6" name="Bildplatzhalter 5">
            <a:extLst>
              <a:ext uri="{FF2B5EF4-FFF2-40B4-BE49-F238E27FC236}">
                <a16:creationId xmlns:a16="http://schemas.microsoft.com/office/drawing/2014/main" id="{AC84D9D4-CD28-458A-A689-780288422DF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935481" y="1549734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851EED9-359C-3848-8B94-78B36192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5266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F3040F8-124D-5044-9ED1-C021C7D659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 u="none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9931CBE2-2FE1-491E-AC84-D55CA5922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B4715C78-1E85-4FBB-AC77-34FAE2F9C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5192275F-0C0C-43FC-AACC-33731E9ADD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4648262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7294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9BC1A026-3D72-C64B-8BD9-EAAABF221770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1349385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974EFC2-132E-924F-8F1D-B919A8B0DFA8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380147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F6FEEAEE-19B8-254C-9050-C96E16BB6D85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6257703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4A81357F-97F7-314E-B11F-877C34415C3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349385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6DB35557-ED53-2742-888E-F64087CFAC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47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35" name="Bildplatzhalter 5">
            <a:extLst>
              <a:ext uri="{FF2B5EF4-FFF2-40B4-BE49-F238E27FC236}">
                <a16:creationId xmlns:a16="http://schemas.microsoft.com/office/drawing/2014/main" id="{01D51DDC-0EDF-2644-9624-B300906A64B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57702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38FC3FEA-D556-224A-AFDB-8ECF3C97AE5E}"/>
              </a:ext>
            </a:extLst>
          </p:cNvPr>
          <p:cNvSpPr>
            <a:spLocks noGrp="1"/>
          </p:cNvSpPr>
          <p:nvPr>
            <p:ph type="body" idx="32"/>
          </p:nvPr>
        </p:nvSpPr>
        <p:spPr>
          <a:xfrm>
            <a:off x="870659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Bildplatzhalter 5">
            <a:extLst>
              <a:ext uri="{FF2B5EF4-FFF2-40B4-BE49-F238E27FC236}">
                <a16:creationId xmlns:a16="http://schemas.microsoft.com/office/drawing/2014/main" id="{9CA2F34E-5903-5842-A63D-5FB5477B1BE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706593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E7FD68B-38EB-6144-8FA7-AC383AD6BC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868362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AD5E64C3-FCAE-E749-A5BE-838738FA72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BC1BD849-4DF0-4A08-87D4-CAD6F478D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F93A1C56-5A4E-426A-ACCC-9D321A3D6D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22" name="Datumsplatzhalter 8">
            <a:extLst>
              <a:ext uri="{FF2B5EF4-FFF2-40B4-BE49-F238E27FC236}">
                <a16:creationId xmlns:a16="http://schemas.microsoft.com/office/drawing/2014/main" id="{3DED4E95-6200-414D-9A6B-9D5105D90E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0086673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Bausteine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B222B94-2502-4655-8062-5612DD24C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64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B222B94-2502-4655-8062-5612DD24C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F8B84CD2-499A-F941-B3C5-E0312EBB4C0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15938" y="3162299"/>
            <a:ext cx="211680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Font typeface="Wingdings" panose="05000000000000000000" pitchFamily="2" charset="2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7897EC78-3C52-3C42-B05A-B6F95D927B4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15938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20CC3DF5-4E61-CC42-8746-62C798A90279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2773001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5">
            <a:extLst>
              <a:ext uri="{FF2B5EF4-FFF2-40B4-BE49-F238E27FC236}">
                <a16:creationId xmlns:a16="http://schemas.microsoft.com/office/drawing/2014/main" id="{BF6422A4-323F-7A42-92A0-1E2B3C9D995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2773001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4D06F90-E41E-0B49-8666-6B158B15FA2B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5030064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Bildplatzhalter 5">
            <a:extLst>
              <a:ext uri="{FF2B5EF4-FFF2-40B4-BE49-F238E27FC236}">
                <a16:creationId xmlns:a16="http://schemas.microsoft.com/office/drawing/2014/main" id="{7937273B-3079-D743-89EA-5F9E1A2D17A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030064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24E61058-EAFC-404D-962E-9D3EA73D60E3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>
            <a:off x="7287127" y="3162299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B628D14F-2DBF-3C4E-9CCE-DB3DF2B2DA90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287127" y="1562207"/>
            <a:ext cx="211759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8F005012-61F3-FD46-A7F4-3F20C54F2769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544189" y="1562207"/>
            <a:ext cx="2116800" cy="1600093"/>
          </a:xfrm>
          <a:solidFill>
            <a:schemeClr val="accent2"/>
          </a:solidFill>
        </p:spPr>
        <p:txBody>
          <a:bodyPr anchor="ctr"/>
          <a:lstStyle>
            <a:lvl1pPr algn="ctr">
              <a:defRPr sz="200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DB141F0E-C085-8E41-8B27-A60B1A4640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85266"/>
          </a:xfrm>
        </p:spPr>
        <p:txBody>
          <a:bodyPr vert="horz"/>
          <a:lstStyle>
            <a:lvl1pPr>
              <a:defRPr b="0"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BB1B1C8-E8A6-4949-8A76-D227121094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bearbeiten I Edit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571D6973-FC67-4F52-9D8B-A47CEB26E7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34" name="Fußzeilenplatzhalter 3">
            <a:extLst>
              <a:ext uri="{FF2B5EF4-FFF2-40B4-BE49-F238E27FC236}">
                <a16:creationId xmlns:a16="http://schemas.microsoft.com/office/drawing/2014/main" id="{3D514009-6C20-4D51-B50D-1B90D21227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35" name="Datumsplatzhalter 8">
            <a:extLst>
              <a:ext uri="{FF2B5EF4-FFF2-40B4-BE49-F238E27FC236}">
                <a16:creationId xmlns:a16="http://schemas.microsoft.com/office/drawing/2014/main" id="{642FDABF-E85F-4B0F-BCA6-43353C8DD3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E5FF205B-376C-4039-99A2-CE5D35772823}"/>
              </a:ext>
            </a:extLst>
          </p:cNvPr>
          <p:cNvSpPr>
            <a:spLocks noGrp="1"/>
          </p:cNvSpPr>
          <p:nvPr>
            <p:ph type="body" idx="34"/>
          </p:nvPr>
        </p:nvSpPr>
        <p:spPr>
          <a:xfrm>
            <a:off x="9544189" y="3131527"/>
            <a:ext cx="2117590" cy="2895045"/>
          </a:xfrm>
          <a:solidFill>
            <a:srgbClr val="284F72"/>
          </a:solidFill>
        </p:spPr>
        <p:txBody>
          <a:bodyPr lIns="108000" tIns="108000" rIns="108000" bIns="0" anchor="t"/>
          <a:lstStyle>
            <a:lvl1pPr marL="85725" indent="0" algn="l">
              <a:lnSpc>
                <a:spcPct val="100000"/>
              </a:lnSpc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4904191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6AD318DE-9377-402A-9500-C4B83375036C}" type="datetime1">
              <a:rPr lang="de-DE"/>
              <a:pPr/>
              <a:t>21.04.2023</a:t>
            </a:fld>
            <a:endParaRPr lang="de-DE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9FB0AAD3-B649-2A4A-9958-5AE5CA57149D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itel 4">
            <a:extLst>
              <a:ext uri="{FF2B5EF4-FFF2-40B4-BE49-F238E27FC236}">
                <a16:creationId xmlns:a16="http://schemas.microsoft.com/office/drawing/2014/main" id="{68A18138-9391-AF45-8382-94D7791BA496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>
                <a:solidFill>
                  <a:srgbClr val="5F5F5F"/>
                </a:solidFill>
                <a:latin typeface="+mj-lt"/>
              </a:rPr>
              <a:t>Ansprechpartner</a:t>
            </a:r>
          </a:p>
        </p:txBody>
      </p:sp>
      <p:sp>
        <p:nvSpPr>
          <p:cNvPr id="19" name="Titel 4">
            <a:extLst>
              <a:ext uri="{FF2B5EF4-FFF2-40B4-BE49-F238E27FC236}">
                <a16:creationId xmlns:a16="http://schemas.microsoft.com/office/drawing/2014/main" id="{3DDDD31B-E576-7142-8AF2-55D312AE22B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Vielen Dank.</a:t>
            </a:r>
          </a:p>
        </p:txBody>
      </p:sp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A9BA4CA5-E0A3-8A42-9EA4-6A92C15B41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5F6F4EDA-1900-9641-B7E9-6EE1212445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Abteilung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5AFD2953-E35C-8147-8A6E-70D8068FEB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lefonnummer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26B8DF3F-AF05-AB4A-8DD1-37D9E3451E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-Mailadress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E252068B-45B4-4995-89D4-76549E8FF8B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03860" y="3212413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863340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Slide_TRUM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34011D-FC5D-41C9-A6F5-E3DD18E9B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RUMPF Website">
            <a:extLst>
              <a:ext uri="{FF2B5EF4-FFF2-40B4-BE49-F238E27FC236}">
                <a16:creationId xmlns:a16="http://schemas.microsoft.com/office/drawing/2014/main" id="{59038479-5C93-41EA-B0E7-C419ED89BB0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6AD318DE-9377-402A-9500-C4B83375036C}" type="datetime1">
              <a:rPr lang="de-DE"/>
              <a:pPr/>
              <a:t>21.04.2023</a:t>
            </a:fld>
            <a:endParaRPr lang="de-DE"/>
          </a:p>
        </p:txBody>
      </p:sp>
      <p:pic>
        <p:nvPicPr>
          <p:cNvPr id="6" name="Hauptpforte">
            <a:extLst>
              <a:ext uri="{FF2B5EF4-FFF2-40B4-BE49-F238E27FC236}">
                <a16:creationId xmlns:a16="http://schemas.microsoft.com/office/drawing/2014/main" id="{EA5A5E46-6E32-4189-A8C7-6B12C67735E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63"/>
          <a:stretch/>
        </p:blipFill>
        <p:spPr>
          <a:xfrm>
            <a:off x="-1" y="858"/>
            <a:ext cx="12192001" cy="6857142"/>
          </a:xfrm>
          <a:prstGeom prst="rect">
            <a:avLst/>
          </a:prstGeom>
        </p:spPr>
      </p:pic>
      <p:sp>
        <p:nvSpPr>
          <p:cNvPr id="20" name="Titel 4">
            <a:extLst>
              <a:ext uri="{FF2B5EF4-FFF2-40B4-BE49-F238E27FC236}">
                <a16:creationId xmlns:a16="http://schemas.microsoft.com/office/drawing/2014/main" id="{2D024F42-39BD-8046-8FA4-B132C12269D6}"/>
              </a:ext>
            </a:extLst>
          </p:cNvPr>
          <p:cNvSpPr txBox="1">
            <a:spLocks/>
          </p:cNvSpPr>
          <p:nvPr userDrawn="1"/>
        </p:nvSpPr>
        <p:spPr>
          <a:xfrm>
            <a:off x="515938" y="6510262"/>
            <a:ext cx="1419971" cy="1566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000" err="1">
                <a:solidFill>
                  <a:prstClr val="white"/>
                </a:solidFill>
                <a:latin typeface="+mj-lt"/>
                <a:cs typeface="Segoe UI" panose="020B0502040204020203" pitchFamily="34" charset="0"/>
              </a:rPr>
              <a:t>www.trumpf.com</a:t>
            </a:r>
            <a:endParaRPr lang="de-DE" sz="1000">
              <a:solidFill>
                <a:prstClr val="white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" name="Rechteck 2">
            <a:hlinkClick r:id="rId4"/>
            <a:extLst>
              <a:ext uri="{FF2B5EF4-FFF2-40B4-BE49-F238E27FC236}">
                <a16:creationId xmlns:a16="http://schemas.microsoft.com/office/drawing/2014/main" id="{100B09FF-D191-244F-A67F-B62A7C7886D4}"/>
              </a:ext>
            </a:extLst>
          </p:cNvPr>
          <p:cNvSpPr/>
          <p:nvPr userDrawn="1"/>
        </p:nvSpPr>
        <p:spPr>
          <a:xfrm>
            <a:off x="365760" y="6510262"/>
            <a:ext cx="1306286" cy="152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b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285DEA54-B57E-4A3F-8626-3917E19AF3A1}"/>
              </a:ext>
            </a:extLst>
          </p:cNvPr>
          <p:cNvSpPr/>
          <p:nvPr userDrawn="1"/>
        </p:nvSpPr>
        <p:spPr>
          <a:xfrm>
            <a:off x="1" y="3124200"/>
            <a:ext cx="4669025" cy="3155193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Titel 4">
            <a:extLst>
              <a:ext uri="{FF2B5EF4-FFF2-40B4-BE49-F238E27FC236}">
                <a16:creationId xmlns:a16="http://schemas.microsoft.com/office/drawing/2014/main" id="{F0348EAF-679D-4728-9335-EC9DD8940AC5}"/>
              </a:ext>
            </a:extLst>
          </p:cNvPr>
          <p:cNvSpPr txBox="1">
            <a:spLocks/>
          </p:cNvSpPr>
          <p:nvPr userDrawn="1"/>
        </p:nvSpPr>
        <p:spPr>
          <a:xfrm>
            <a:off x="515938" y="4688163"/>
            <a:ext cx="3611394" cy="2281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">
                <a:solidFill>
                  <a:srgbClr val="5F5F5F"/>
                </a:solidFill>
                <a:latin typeface="+mj-lt"/>
              </a:rPr>
              <a:t>Contact Person</a:t>
            </a:r>
          </a:p>
        </p:txBody>
      </p:sp>
      <p:sp>
        <p:nvSpPr>
          <p:cNvPr id="22" name="Titel 4">
            <a:extLst>
              <a:ext uri="{FF2B5EF4-FFF2-40B4-BE49-F238E27FC236}">
                <a16:creationId xmlns:a16="http://schemas.microsoft.com/office/drawing/2014/main" id="{812C48B3-F225-4797-8C40-3B338DA339C7}"/>
              </a:ext>
            </a:extLst>
          </p:cNvPr>
          <p:cNvSpPr txBox="1">
            <a:spLocks/>
          </p:cNvSpPr>
          <p:nvPr userDrawn="1"/>
        </p:nvSpPr>
        <p:spPr>
          <a:xfrm>
            <a:off x="515938" y="4112832"/>
            <a:ext cx="2638292" cy="490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3600" b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Thank</a:t>
            </a:r>
            <a:r>
              <a:rPr lang="de-DE" sz="3600" b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 </a:t>
            </a:r>
            <a:r>
              <a:rPr lang="de-DE" sz="3600" b="0" err="1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You</a:t>
            </a:r>
            <a:r>
              <a:rPr lang="de-DE" sz="3600" b="0">
                <a:solidFill>
                  <a:prstClr val="black"/>
                </a:solidFill>
                <a:latin typeface="+mj-lt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62BED932-9411-4A51-BD49-18BBE3E915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8833" y="4936788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69E6D455-C132-4E88-A034-2DD452FAE2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833" y="5233460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Department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3C480363-0218-48FE-B0FF-0B9723D696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8833" y="5530132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Phone </a:t>
            </a:r>
            <a:r>
              <a:rPr lang="de-DE" err="1"/>
              <a:t>number</a:t>
            </a:r>
            <a:endParaRPr lang="de-DE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79A091A-16DF-4ED4-8F2A-D9DAA74E85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833" y="5826804"/>
            <a:ext cx="3608499" cy="228155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err="1"/>
              <a:t>E-mail</a:t>
            </a:r>
            <a:r>
              <a:rPr lang="de-DE"/>
              <a:t> </a:t>
            </a:r>
            <a:r>
              <a:rPr lang="de-DE" err="1"/>
              <a:t>address</a:t>
            </a:r>
            <a:endParaRPr lang="de-DE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AB7B5B0C-1AD3-4DB7-B48F-F05E7BE735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03860" y="3212413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60071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bild ganzseitig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9469B77-4928-4FF2-8529-F45439CA0C4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9590058 w 12192000"/>
              <a:gd name="connsiteY0" fmla="*/ 5814134 h 6858000"/>
              <a:gd name="connsiteX1" fmla="*/ 9590058 w 12192000"/>
              <a:gd name="connsiteY1" fmla="*/ 6604274 h 6858000"/>
              <a:gd name="connsiteX2" fmla="*/ 11936569 w 12192000"/>
              <a:gd name="connsiteY2" fmla="*/ 6604274 h 6858000"/>
              <a:gd name="connsiteX3" fmla="*/ 11936569 w 12192000"/>
              <a:gd name="connsiteY3" fmla="*/ 581413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9590058" y="5814134"/>
                </a:moveTo>
                <a:lnTo>
                  <a:pt x="9590058" y="6604274"/>
                </a:lnTo>
                <a:lnTo>
                  <a:pt x="11936569" y="6604274"/>
                </a:lnTo>
                <a:lnTo>
                  <a:pt x="11936569" y="581413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0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 algn="ctr"/>
            <a:endParaRPr lang="de-DE"/>
          </a:p>
          <a:p>
            <a:pPr lvl="0" algn="ctr"/>
            <a:endParaRPr lang="de-DE"/>
          </a:p>
          <a:p>
            <a:pPr lvl="0" algn="ctr"/>
            <a:endParaRPr lang="de-DE"/>
          </a:p>
          <a:p>
            <a:pPr lvl="0" algn="ctr"/>
            <a:endParaRPr lang="de-DE"/>
          </a:p>
          <a:p>
            <a:pPr lvl="0" algn="ctr"/>
            <a:r>
              <a:rPr lang="de-DE"/>
              <a:t>Bild durch Klicken auf Symbol hinzufügen I 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</a:t>
            </a:r>
            <a:r>
              <a:rPr lang="de-DE" err="1"/>
              <a:t>ico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FD6C72-2063-AD48-9727-C4AB16A6DE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777363"/>
            <a:ext cx="4875212" cy="215444"/>
          </a:xfrm>
          <a:noFill/>
        </p:spPr>
        <p:txBody>
          <a:bodyPr wrap="squar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 I </a:t>
            </a:r>
            <a:r>
              <a:rPr lang="de-DE" err="1"/>
              <a:t>Overline</a:t>
            </a:r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7AA3D91-2715-1245-B649-15816B60CB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4068000"/>
            <a:ext cx="11198984" cy="1064355"/>
          </a:xfrm>
          <a:noFill/>
          <a:effectLst/>
        </p:spPr>
        <p:txBody>
          <a:bodyPr vert="horz"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bg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Headline</a:t>
            </a:r>
          </a:p>
        </p:txBody>
      </p: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5D6BFDAA-1B23-B44C-B430-5B98D64133FF}"/>
              </a:ext>
            </a:extLst>
          </p:cNvPr>
          <p:cNvCxnSpPr>
            <a:cxnSpLocks/>
          </p:cNvCxnSpPr>
          <p:nvPr userDrawn="1"/>
        </p:nvCxnSpPr>
        <p:spPr>
          <a:xfrm>
            <a:off x="674962" y="5390460"/>
            <a:ext cx="257789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1E8C8-7C50-4010-8FA8-5E3FC76DB09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37680" y="5582714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C708E70-C117-45C9-A543-69237EA4A5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90058" y="5814134"/>
            <a:ext cx="2346511" cy="790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2976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 Titel I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1653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14800" cy="6858000"/>
          </a:xfr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 sz="2000" b="0" dirty="0">
                <a:solidFill>
                  <a:schemeClr val="accent4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 I Add </a:t>
            </a:r>
            <a:r>
              <a:rPr lang="de-DE" err="1"/>
              <a:t>image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clicking</a:t>
            </a:r>
            <a:r>
              <a:rPr lang="de-DE"/>
              <a:t> </a:t>
            </a:r>
            <a:r>
              <a:rPr lang="de-DE" err="1"/>
              <a:t>icon</a:t>
            </a:r>
            <a:endParaRPr lang="en-US"/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6917DA5D-DFE8-7C4C-8AB4-CAC5CA368F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6064" y="1499263"/>
            <a:ext cx="1760070" cy="215444"/>
          </a:xfrm>
          <a:noFill/>
        </p:spPr>
        <p:txBody>
          <a:bodyPr wrap="none" lIns="216000" tIns="0" rIns="0" bIns="0" anchor="ctr">
            <a:spAutoFit/>
          </a:bodyPr>
          <a:lstStyle>
            <a:lvl1pPr marL="0" indent="0" algn="l">
              <a:buNone/>
              <a:defRPr lang="de-DE" sz="1400" b="0" kern="1200" dirty="0">
                <a:solidFill>
                  <a:srgbClr val="575756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/>
              <a:t>Dachzeile I </a:t>
            </a:r>
            <a:r>
              <a:rPr lang="de-DE" err="1"/>
              <a:t>O</a:t>
            </a:r>
            <a:r>
              <a:rPr lang="de-DE" b="0" i="0" err="1">
                <a:solidFill>
                  <a:srgbClr val="242424"/>
                </a:solidFill>
                <a:effectLst/>
                <a:latin typeface="-apple-system"/>
              </a:rPr>
              <a:t>verline</a:t>
            </a:r>
            <a:endParaRPr lang="de-DE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E4B09D7-D09D-1144-A835-68CC3D5E8A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76063" y="1745628"/>
            <a:ext cx="4782951" cy="1064355"/>
          </a:xfrm>
          <a:noFill/>
          <a:effectLst/>
        </p:spPr>
        <p:txBody>
          <a:bodyPr lIns="198000" tIns="0" rIns="0" anchor="b" anchorCtr="0">
            <a:noAutofit/>
          </a:bodyPr>
          <a:lstStyle>
            <a:lvl1pPr marL="0" algn="l" defTabSz="9143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600" b="0" kern="1200" cap="none" baseline="0" dirty="0">
                <a:solidFill>
                  <a:schemeClr val="tx1">
                    <a:lumMod val="50000"/>
                  </a:schemeClr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</a:t>
            </a:r>
            <a:br>
              <a:rPr lang="de-DE"/>
            </a:br>
            <a:r>
              <a:rPr lang="de-DE"/>
              <a:t>Headline</a:t>
            </a:r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6D46DD6D-39B6-7346-8FB3-30800BFB33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76064" y="3241250"/>
            <a:ext cx="4782950" cy="215444"/>
          </a:xfrm>
        </p:spPr>
        <p:txBody>
          <a:bodyPr lIns="216000" tIns="0" rIns="0" bIns="0"/>
          <a:lstStyle>
            <a:lvl1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CC90D94-1694-408E-ACC5-1A98DAEA84E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026151" y="5707580"/>
            <a:ext cx="3021965" cy="101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76806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33FEF4F-8B79-41EE-AB78-33ED69B9B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16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33FEF4F-8B79-41EE-AB78-33ED69B9B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03FE40-B22A-7341-B28C-28DFD29DF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474663"/>
            <a:ext cx="11160125" cy="318665"/>
          </a:xfrm>
        </p:spPr>
        <p:txBody>
          <a:bodyPr vert="horz"/>
          <a:lstStyle>
            <a:lvl1pPr>
              <a:defRPr lang="de-DE" sz="2800" b="0" kern="1200" dirty="0">
                <a:solidFill>
                  <a:schemeClr val="tx1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54A3B36-B0FE-C746-9087-319E2EDF7A1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483200"/>
            <a:ext cx="11160125" cy="43452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11FF463F-7FBF-4DC6-8720-3FD91D5643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D4C688C-3055-41E2-8896-2737A0573C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DBC6C2D0-1056-4181-81F1-C02E4CC91E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15" name="Datumsplatzhalter 8">
            <a:extLst>
              <a:ext uri="{FF2B5EF4-FFF2-40B4-BE49-F238E27FC236}">
                <a16:creationId xmlns:a16="http://schemas.microsoft.com/office/drawing/2014/main" id="{96942B6F-6432-449E-93DB-86445774FF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5458061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D7C520-2B80-4E26-8B78-40EFBE6A97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032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D7C520-2B80-4E26-8B78-40EFBE6A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8D6160A-CFC0-3346-A4DF-C308B2C5A1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8" y="831428"/>
            <a:ext cx="11160000" cy="387798"/>
          </a:xfrm>
        </p:spPr>
        <p:txBody>
          <a:bodyPr vert="horz" lIns="0" tIns="0" rIns="0" bIns="0" rtlCol="0" anchor="t">
            <a:noAutofit/>
          </a:bodyPr>
          <a:lstStyle>
            <a:lvl1pPr>
              <a:defRPr lang="de-DE" sz="2000" b="0">
                <a:solidFill>
                  <a:schemeClr val="tx1"/>
                </a:solidFill>
                <a:latin typeface="+mn-lt"/>
                <a:ea typeface="+mj-ea"/>
              </a:defRPr>
            </a:lvl1pPr>
            <a:lvl2pPr>
              <a:defRPr lang="de-DE" b="0"/>
            </a:lvl2pPr>
            <a:lvl3pPr>
              <a:defRPr lang="de-DE" b="0"/>
            </a:lvl3pPr>
            <a:lvl4pPr>
              <a:defRPr lang="de-DE" b="0"/>
            </a:lvl4pPr>
            <a:lvl5pPr>
              <a:defRPr lang="de-DE" b="0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de-DE"/>
              <a:t>Untertitel I </a:t>
            </a:r>
            <a:r>
              <a:rPr lang="de-DE" err="1"/>
              <a:t>Subtitles</a:t>
            </a:r>
            <a:endParaRPr lang="de-DE"/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823985D0-4F3A-4F8D-ACB8-C2D8748D71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DD2F819B-3D0D-4E9C-B6A3-323FEE2D96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16" name="Datumsplatzhalter 8">
            <a:extLst>
              <a:ext uri="{FF2B5EF4-FFF2-40B4-BE49-F238E27FC236}">
                <a16:creationId xmlns:a16="http://schemas.microsoft.com/office/drawing/2014/main" id="{D0448C96-C7A5-4D51-ADCB-AC08FC3B7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05AEC9C-974A-4A12-A4A1-F9CC2FA812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0234"/>
            <a:ext cx="11160125" cy="491194"/>
          </a:xfrm>
        </p:spPr>
        <p:txBody>
          <a:bodyPr vert="horz"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Überschrift I Headline</a:t>
            </a:r>
          </a:p>
        </p:txBody>
      </p:sp>
    </p:spTree>
    <p:extLst>
      <p:ext uri="{BB962C8B-B14F-4D97-AF65-F5344CB8AC3E}">
        <p14:creationId xmlns:p14="http://schemas.microsoft.com/office/powerpoint/2010/main" val="2553618311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folie_Blank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EDC1379C-8CED-41CA-8430-72D9E90D71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3B797276-7B97-44E6-80A7-8A978EF26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661" y="6356349"/>
            <a:ext cx="4113163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13" name="Datumsplatzhalter 8">
            <a:extLst>
              <a:ext uri="{FF2B5EF4-FFF2-40B4-BE49-F238E27FC236}">
                <a16:creationId xmlns:a16="http://schemas.microsoft.com/office/drawing/2014/main" id="{5892E75D-6086-44ED-A3F2-C52076A2B0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2474" y="6359524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0457692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1 Bild-Tex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2C08B9-AEF0-4978-B065-A228A3077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8646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2C08B9-AEF0-4978-B065-A228A3077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AC9107A1-72E3-1644-8027-D7B089F5146B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0" y="1"/>
            <a:ext cx="5664200" cy="6858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C3864067-953C-644E-BB2F-9707B5D6D5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03524" y="333375"/>
            <a:ext cx="5510856" cy="647700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DD003BDC-D64F-C349-9E09-52BB53F4D9FF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085915" y="1530628"/>
            <a:ext cx="5528466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F5FA6DA-3ED9-534E-8A19-DA2C8DE56A7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085915" y="3793766"/>
            <a:ext cx="5528466" cy="384460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959BF03-5949-4783-91F7-72F3EB1F27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6683" y="2017790"/>
            <a:ext cx="5511571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789210D-C9B4-49FA-9612-E029C3523EA7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103523" y="4327268"/>
            <a:ext cx="5511571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539750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717550" indent="-177800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E6C3D5C7-6C25-4745-BF31-C511F59A2E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6638" y="63230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CA0514DA-B83B-43CA-831A-887FA1B6C0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7361" y="6323016"/>
            <a:ext cx="2870369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14" name="Datumsplatzhalter 8">
            <a:extLst>
              <a:ext uri="{FF2B5EF4-FFF2-40B4-BE49-F238E27FC236}">
                <a16:creationId xmlns:a16="http://schemas.microsoft.com/office/drawing/2014/main" id="{7FEC9BB5-BB03-4D9C-84E4-F96931FFA5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3174" y="63261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696310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Bilder links + Textbaustein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19A594C-56E4-440E-AAB5-539DD1078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9613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Folie" r:id="rId4" imgW="347" imgH="346" progId="TCLayout.ActiveDocument.1">
                  <p:embed/>
                </p:oleObj>
              </mc:Choice>
              <mc:Fallback>
                <p:oleObj name="think-cell Folie" r:id="rId4" imgW="347" imgH="34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19A594C-56E4-440E-AAB5-539DD1078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327D00DF-9EDC-41CE-BFD9-C2C6C9E53162}"/>
              </a:ext>
            </a:extLst>
          </p:cNvPr>
          <p:cNvSpPr/>
          <p:nvPr userDrawn="1"/>
        </p:nvSpPr>
        <p:spPr>
          <a:xfrm>
            <a:off x="0" y="0"/>
            <a:ext cx="300038" cy="2889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DC4A3E0-6C0D-EB4D-833B-5856DFA8AEE6}"/>
              </a:ext>
            </a:extLst>
          </p:cNvPr>
          <p:cNvSpPr/>
          <p:nvPr userDrawn="1"/>
        </p:nvSpPr>
        <p:spPr>
          <a:xfrm>
            <a:off x="0" y="0"/>
            <a:ext cx="75255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6FAD938C-AD49-F544-BA01-63F44E5FECFA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0" y="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id="{F55CC908-F16A-274A-B039-6DBD18AB914D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0" y="3429000"/>
            <a:ext cx="5664200" cy="342900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C603A484-4D38-5B4B-A2A0-E0BD4B4E03FC}"/>
              </a:ext>
            </a:extLst>
          </p:cNvPr>
          <p:cNvCxnSpPr>
            <a:cxnSpLocks/>
          </p:cNvCxnSpPr>
          <p:nvPr userDrawn="1"/>
        </p:nvCxnSpPr>
        <p:spPr>
          <a:xfrm flipH="1">
            <a:off x="-14139" y="3429000"/>
            <a:ext cx="57576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">
            <a:extLst>
              <a:ext uri="{FF2B5EF4-FFF2-40B4-BE49-F238E27FC236}">
                <a16:creationId xmlns:a16="http://schemas.microsoft.com/office/drawing/2014/main" id="{8654251A-3CCD-A24E-8979-624593CB2EA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13860" y="285032"/>
            <a:ext cx="5300638" cy="793523"/>
          </a:xfrm>
        </p:spPr>
        <p:txBody>
          <a:bodyPr vert="horz" anchor="t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Überschrift I Headlin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820B7BB-4FC3-EB4C-B3DB-67A28E98C77A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414575" y="1525771"/>
            <a:ext cx="5277133" cy="498648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3813661B-2175-A444-B7DE-8B0371A2727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414575" y="3896141"/>
            <a:ext cx="5277133" cy="391416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766EC86B-CFB4-4A90-A302-82ADE46E92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3676" y="2155035"/>
            <a:ext cx="5261006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EFD10ABA-461E-4505-AA85-13D7BCE5C2C9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423675" y="4417187"/>
            <a:ext cx="5261006" cy="13137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chemeClr val="tx1">
                  <a:lumMod val="50000"/>
                </a:schemeClr>
              </a:buClr>
              <a:buFont typeface="Wingdings" pitchFamily="2" charset="2"/>
              <a:buNone/>
              <a:defRPr sz="1200" b="0">
                <a:solidFill>
                  <a:schemeClr val="tx1"/>
                </a:solidFill>
              </a:defRPr>
            </a:lvl1pPr>
            <a:lvl2pPr marL="0" indent="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357188" indent="-177800">
              <a:spcAft>
                <a:spcPts val="0"/>
              </a:spcAft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3pPr>
            <a:lvl4pPr marL="536575" indent="-179388">
              <a:buClr>
                <a:schemeClr val="tx1">
                  <a:lumMod val="50000"/>
                </a:schemeClr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</a:defRPr>
            </a:lvl4pPr>
            <a:lvl5pPr>
              <a:buFont typeface="Wingdings" pitchFamily="2" charset="2"/>
              <a:buChar char="§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 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9" name="Foliennummernplatzhalter 5">
            <a:extLst>
              <a:ext uri="{FF2B5EF4-FFF2-40B4-BE49-F238E27FC236}">
                <a16:creationId xmlns:a16="http://schemas.microsoft.com/office/drawing/2014/main" id="{582C89E3-815E-49D3-8AEC-F4E35FEF3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16638" y="6323015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 b="0">
                <a:solidFill>
                  <a:schemeClr val="tx1"/>
                </a:solidFill>
              </a:rPr>
              <a:pPr/>
              <a:t>‹#›</a:t>
            </a:fld>
            <a:r>
              <a:rPr lang="de-DE">
                <a:solidFill>
                  <a:schemeClr val="accent1"/>
                </a:solidFill>
              </a:rPr>
              <a:t>  </a:t>
            </a:r>
            <a:r>
              <a:rPr lang="de-DE" b="0">
                <a:solidFill>
                  <a:schemeClr val="accent1"/>
                </a:solidFill>
              </a:rPr>
              <a:t>|</a:t>
            </a:r>
            <a:endParaRPr lang="de-DE" sz="900" b="0">
              <a:solidFill>
                <a:schemeClr val="accent1"/>
              </a:solidFill>
            </a:endParaRPr>
          </a:p>
        </p:txBody>
      </p:sp>
      <p:sp>
        <p:nvSpPr>
          <p:cNvPr id="30" name="Fußzeilenplatzhalter 3">
            <a:extLst>
              <a:ext uri="{FF2B5EF4-FFF2-40B4-BE49-F238E27FC236}">
                <a16:creationId xmlns:a16="http://schemas.microsoft.com/office/drawing/2014/main" id="{2A8504A7-0A5A-40BE-8AFC-C8FF12245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97361" y="6323016"/>
            <a:ext cx="2870369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de-DE"/>
              <a:t>Jeanette Thumm Update Empower</a:t>
            </a:r>
          </a:p>
        </p:txBody>
      </p:sp>
      <p:sp>
        <p:nvSpPr>
          <p:cNvPr id="31" name="Datumsplatzhalter 8">
            <a:extLst>
              <a:ext uri="{FF2B5EF4-FFF2-40B4-BE49-F238E27FC236}">
                <a16:creationId xmlns:a16="http://schemas.microsoft.com/office/drawing/2014/main" id="{9AB4B1FB-4818-4EBC-9655-8FF3990886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3174" y="6326191"/>
            <a:ext cx="639002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  <a:latin typeface="+mn-lt"/>
              </a:defRPr>
            </a:lvl1pPr>
          </a:lstStyle>
          <a:p>
            <a:fld id="{AB19A4FC-76FE-4B52-A6BC-C4A9405F94A9}" type="datetime1">
              <a:rPr lang="de-DE"/>
              <a:pPr/>
              <a:t>21.04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030436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orient="horz" pos="191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523552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Folie" r:id="rId32" imgW="353" imgH="353" progId="TCLayout.ActiveDocument.1">
                  <p:embed/>
                </p:oleObj>
              </mc:Choice>
              <mc:Fallback>
                <p:oleObj name="think-cell Folie" r:id="rId32" imgW="353" imgH="35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EE5D475-DF19-4144-995E-F7C3970B8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1160125" cy="8683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A34782-E3A2-CF42-9904-29EE5398A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483200"/>
            <a:ext cx="11160125" cy="434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3E9BB6-5D8A-8147-AD61-F2C10BA13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534" y="6356348"/>
            <a:ext cx="432000" cy="3064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8D57957C-F0F3-7842-B0E2-B762F92D6487}" type="slidenum">
              <a:rPr lang="de-DE"/>
              <a:pPr/>
              <a:t>‹#›</a:t>
            </a:fld>
            <a:r>
              <a:rPr lang="de-DE"/>
              <a:t>  |</a:t>
            </a:r>
            <a:endParaRPr lang="de-DE" sz="90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983328E-748D-3F4E-9827-CEDBAE65A3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4747" y="6356349"/>
            <a:ext cx="2743200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z="1000" b="0">
                <a:solidFill>
                  <a:schemeClr val="accent1"/>
                </a:solidFill>
                <a:cs typeface="Arial" panose="020B0604020202020204" pitchFamily="34" charset="0"/>
              </a:defRPr>
            </a:lvl1pPr>
          </a:lstStyle>
          <a:p>
            <a:r>
              <a:rPr lang="de-DE"/>
              <a:t>Name | Abteilung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9DB09A8C-0A47-46B9-974A-D9A1F4E4F2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5930" y="6356349"/>
            <a:ext cx="655495" cy="3059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fld id="{73B8A5C4-6BDB-4ACF-8BA9-7078118229D4}" type="datetime1">
              <a:rPr lang="de-DE"/>
              <a:pPr/>
              <a:t>21.04.2023</a:t>
            </a:fld>
            <a:r>
              <a:rPr lang="de-DE"/>
              <a:t> I</a:t>
            </a: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3B045111-8DB6-4E89-8ACE-F9267DF8EF55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err="1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C28AA3B-B076-4FC3-86A9-1B6A560113CC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10169826" y="6048375"/>
            <a:ext cx="1817476" cy="61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982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20" r:id="rId23"/>
    <p:sldLayoutId id="2147483721" r:id="rId24"/>
    <p:sldLayoutId id="2147483722" r:id="rId25"/>
    <p:sldLayoutId id="2147483724" r:id="rId26"/>
    <p:sldLayoutId id="2147483726" r:id="rId27"/>
  </p:sldLayoutIdLst>
  <p:hf hdr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355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itchFamily="2" charset="2"/>
        <a:buNone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216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32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48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itchFamily="2" charset="2"/>
        <a:buChar char="§"/>
        <a:defRPr sz="1600" b="0" i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64000" indent="-216000" algn="l" defTabSz="914355" rtl="0" eaLnBrk="1" latinLnBrk="0" hangingPunct="1">
        <a:lnSpc>
          <a:spcPct val="90000"/>
        </a:lnSpc>
        <a:spcBef>
          <a:spcPts val="600"/>
        </a:spcBef>
        <a:buClrTx/>
        <a:buFont typeface="Wingdings" pitchFamily="2" charset="2"/>
        <a:buChar char="§"/>
        <a:defRPr lang="de-DE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0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12000" indent="-216000" algn="l" defTabSz="914355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2" userDrawn="1">
          <p15:clr>
            <a:srgbClr val="F26B43"/>
          </p15:clr>
        </p15:guide>
        <p15:guide id="2" pos="325" userDrawn="1">
          <p15:clr>
            <a:srgbClr val="F26B43"/>
          </p15:clr>
        </p15:guide>
        <p15:guide id="3" orient="horz" pos="4137" userDrawn="1">
          <p15:clr>
            <a:srgbClr val="F26B43"/>
          </p15:clr>
        </p15:guide>
        <p15:guide id="4" pos="7491" userDrawn="1">
          <p15:clr>
            <a:srgbClr val="F26B43"/>
          </p15:clr>
        </p15:guide>
        <p15:guide id="6" pos="189" userDrawn="1">
          <p15:clr>
            <a:srgbClr val="F26B43"/>
          </p15:clr>
        </p15:guide>
        <p15:guide id="7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  <p15:guide id="9" pos="7355" userDrawn="1">
          <p15:clr>
            <a:srgbClr val="F26B43"/>
          </p15:clr>
        </p15:guide>
        <p15:guide id="10" orient="horz" pos="935" userDrawn="1">
          <p15:clr>
            <a:srgbClr val="F26B43"/>
          </p15:clr>
        </p15:guide>
        <p15:guide id="12" orient="horz" pos="36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8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5935F9B-A162-4A47-96F0-19821F58D5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1237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5935F9B-A162-4A47-96F0-19821F58D5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>
            <a:extLst>
              <a:ext uri="{FF2B5EF4-FFF2-40B4-BE49-F238E27FC236}">
                <a16:creationId xmlns:a16="http://schemas.microsoft.com/office/drawing/2014/main" id="{3A1F0A77-5574-406C-A0D3-BBAAB533C24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/>
              <a:t>Smart Factory TRUMPF</a:t>
            </a:r>
          </a:p>
        </p:txBody>
      </p:sp>
      <p:pic>
        <p:nvPicPr>
          <p:cNvPr id="31" name="Smart Factory" descr="Ein Bild, das draußen, Outdoorobjekt, Spinnennetz, Tag enthält.&#10;&#10;Automatisch generierte Beschreibung">
            <a:extLst>
              <a:ext uri="{FF2B5EF4-FFF2-40B4-BE49-F238E27FC236}">
                <a16:creationId xmlns:a16="http://schemas.microsoft.com/office/drawing/2014/main" id="{9ABB929D-9871-B94B-123A-49090E409E0A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3"/>
            </p:custDataLst>
          </p:nvPr>
        </p:nvPicPr>
        <p:blipFill>
          <a:blip r:embed="rId7"/>
          <a:srcRect t="17849" b="17849"/>
          <a:stretch>
            <a:fillRect/>
          </a:stretch>
        </p:blipFill>
        <p:spPr>
          <a:xfrm>
            <a:off x="3175" y="0"/>
            <a:ext cx="12188825" cy="6858000"/>
          </a:xfrm>
        </p:spPr>
      </p:pic>
    </p:spTree>
    <p:extLst>
      <p:ext uri="{BB962C8B-B14F-4D97-AF65-F5344CB8AC3E}">
        <p14:creationId xmlns:p14="http://schemas.microsoft.com/office/powerpoint/2010/main" val="23514302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„Smarte“ Zusammenarbeit</a:t>
            </a:r>
            <a:br>
              <a:rPr lang="de-DE"/>
            </a:br>
            <a:r>
              <a:rPr lang="de-DE"/>
              <a:t>	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2D001F-4B71-8322-F091-D1E19B17A8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Erlebniswelt Blechfertigung</a:t>
            </a:r>
          </a:p>
        </p:txBody>
      </p:sp>
      <p:cxnSp>
        <p:nvCxnSpPr>
          <p:cNvPr id="5" name="ตัวเชื่อมต่อตรง 237">
            <a:extLst>
              <a:ext uri="{FF2B5EF4-FFF2-40B4-BE49-F238E27FC236}">
                <a16:creationId xmlns:a16="http://schemas.microsoft.com/office/drawing/2014/main" id="{3363E772-0723-5A16-4FD2-1D97310592B8}"/>
              </a:ext>
            </a:extLst>
          </p:cNvPr>
          <p:cNvCxnSpPr>
            <a:cxnSpLocks/>
            <a:stCxn id="12" idx="1"/>
          </p:cNvCxnSpPr>
          <p:nvPr/>
        </p:nvCxnSpPr>
        <p:spPr>
          <a:xfrm flipV="1">
            <a:off x="2616582" y="4845844"/>
            <a:ext cx="711269" cy="542938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prstDash val="solid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ตัวเชื่อมต่อตรง 237">
            <a:extLst>
              <a:ext uri="{FF2B5EF4-FFF2-40B4-BE49-F238E27FC236}">
                <a16:creationId xmlns:a16="http://schemas.microsoft.com/office/drawing/2014/main" id="{DBD716FD-C863-431B-9CDA-D797793A3D02}"/>
              </a:ext>
            </a:extLst>
          </p:cNvPr>
          <p:cNvCxnSpPr/>
          <p:nvPr/>
        </p:nvCxnSpPr>
        <p:spPr>
          <a:xfrm rot="29222">
            <a:off x="4559904" y="2224694"/>
            <a:ext cx="1186368" cy="554406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prstDash val="solid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ตัวเชื่อมต่อตรง 237">
            <a:extLst>
              <a:ext uri="{FF2B5EF4-FFF2-40B4-BE49-F238E27FC236}">
                <a16:creationId xmlns:a16="http://schemas.microsoft.com/office/drawing/2014/main" id="{2A9EACD1-1AB3-50F1-C0AA-A4ED87A5DF09}"/>
              </a:ext>
            </a:extLst>
          </p:cNvPr>
          <p:cNvCxnSpPr>
            <a:cxnSpLocks/>
            <a:stCxn id="13" idx="3"/>
            <a:endCxn id="8" idx="0"/>
          </p:cNvCxnSpPr>
          <p:nvPr/>
        </p:nvCxnSpPr>
        <p:spPr>
          <a:xfrm rot="10800000" flipV="1">
            <a:off x="9095750" y="3526435"/>
            <a:ext cx="554492" cy="1027756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50000"/>
              </a:schemeClr>
            </a:solidFill>
            <a:prstDash val="solid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66">
            <a:extLst>
              <a:ext uri="{FF2B5EF4-FFF2-40B4-BE49-F238E27FC236}">
                <a16:creationId xmlns:a16="http://schemas.microsoft.com/office/drawing/2014/main" id="{4E9F3640-04D2-71C5-4BE9-6CDE2434A6F2}"/>
              </a:ext>
            </a:extLst>
          </p:cNvPr>
          <p:cNvSpPr txBox="1"/>
          <p:nvPr/>
        </p:nvSpPr>
        <p:spPr>
          <a:xfrm flipH="1">
            <a:off x="2616582" y="1679994"/>
            <a:ext cx="1863485" cy="107933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400" b="1">
                <a:solidFill>
                  <a:srgbClr val="575757"/>
                </a:solidFill>
              </a:rPr>
              <a:t>Erlebniswelt Blechfertigung</a:t>
            </a:r>
            <a:endParaRPr lang="id-ID" sz="1400" b="1">
              <a:solidFill>
                <a:srgbClr val="575757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Steigerung </a:t>
            </a: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Kundenerlebnis</a:t>
            </a: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 </a:t>
            </a:r>
          </a:p>
          <a:p>
            <a:pPr algn="ctr">
              <a:lnSpc>
                <a:spcPct val="150000"/>
              </a:lnSpc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und </a:t>
            </a: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Produktivität</a:t>
            </a:r>
          </a:p>
        </p:txBody>
      </p:sp>
      <p:sp>
        <p:nvSpPr>
          <p:cNvPr id="12" name="TextBox 67">
            <a:extLst>
              <a:ext uri="{FF2B5EF4-FFF2-40B4-BE49-F238E27FC236}">
                <a16:creationId xmlns:a16="http://schemas.microsoft.com/office/drawing/2014/main" id="{BD8B9218-7933-1AAA-19B6-22DA98B9A82F}"/>
              </a:ext>
            </a:extLst>
          </p:cNvPr>
          <p:cNvSpPr txBox="1"/>
          <p:nvPr/>
        </p:nvSpPr>
        <p:spPr>
          <a:xfrm flipH="1">
            <a:off x="753098" y="4618282"/>
            <a:ext cx="1863484" cy="1540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400" b="1">
                <a:solidFill>
                  <a:srgbClr val="575757"/>
                </a:solidFill>
              </a:rPr>
              <a:t>Produktionseinheit Blech</a:t>
            </a:r>
            <a:endParaRPr lang="id-ID" sz="1400" b="1">
              <a:solidFill>
                <a:srgbClr val="575757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Herstellung von</a:t>
            </a:r>
          </a:p>
          <a:p>
            <a:pPr algn="ctr">
              <a:lnSpc>
                <a:spcPct val="150000"/>
              </a:lnSpc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000" err="1">
                <a:solidFill>
                  <a:schemeClr val="bg1">
                    <a:lumMod val="50000"/>
                  </a:schemeClr>
                </a:solidFill>
              </a:rPr>
              <a:t>Blecheinzelteilen</a:t>
            </a: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 und </a:t>
            </a:r>
            <a:r>
              <a:rPr lang="de-DE" sz="1000">
                <a:solidFill>
                  <a:schemeClr val="bg1">
                    <a:lumMod val="50000"/>
                  </a:schemeClr>
                </a:solidFill>
              </a:rPr>
              <a:t>Baugruppen</a:t>
            </a: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 für TRUMPF Maschinen</a:t>
            </a:r>
          </a:p>
        </p:txBody>
      </p:sp>
      <p:sp>
        <p:nvSpPr>
          <p:cNvPr id="13" name="TextBox 72">
            <a:extLst>
              <a:ext uri="{FF2B5EF4-FFF2-40B4-BE49-F238E27FC236}">
                <a16:creationId xmlns:a16="http://schemas.microsoft.com/office/drawing/2014/main" id="{3DAA2535-9840-7409-472F-261EC92F5D3F}"/>
              </a:ext>
            </a:extLst>
          </p:cNvPr>
          <p:cNvSpPr txBox="1"/>
          <p:nvPr/>
        </p:nvSpPr>
        <p:spPr>
          <a:xfrm flipH="1">
            <a:off x="9650242" y="2986768"/>
            <a:ext cx="1951207" cy="107933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400" b="1">
                <a:solidFill>
                  <a:srgbClr val="575757"/>
                </a:solidFill>
              </a:rPr>
              <a:t>Customer Center Ditzingen</a:t>
            </a:r>
            <a:endParaRPr lang="id-ID" sz="1400" b="1">
              <a:solidFill>
                <a:srgbClr val="575757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en-US" sz="1000" err="1">
                <a:solidFill>
                  <a:schemeClr val="bg1">
                    <a:lumMod val="50000"/>
                  </a:schemeClr>
                </a:solidFill>
              </a:rPr>
              <a:t>Produktleistung</a:t>
            </a: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000" err="1">
                <a:solidFill>
                  <a:schemeClr val="bg1">
                    <a:lumMod val="50000"/>
                  </a:schemeClr>
                </a:solidFill>
              </a:rPr>
              <a:t>vorstellen</a:t>
            </a: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 und Kunden </a:t>
            </a:r>
            <a:r>
              <a:rPr lang="en-US" sz="1000" err="1">
                <a:solidFill>
                  <a:schemeClr val="bg1">
                    <a:lumMod val="50000"/>
                  </a:schemeClr>
                </a:solidFill>
              </a:rPr>
              <a:t>begeistern</a:t>
            </a:r>
            <a:endParaRPr lang="en-US" sz="100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28F9D930-C136-AC5F-4B22-011EB502A2DF}"/>
              </a:ext>
            </a:extLst>
          </p:cNvPr>
          <p:cNvGrpSpPr/>
          <p:nvPr/>
        </p:nvGrpSpPr>
        <p:grpSpPr>
          <a:xfrm>
            <a:off x="7060728" y="3547850"/>
            <a:ext cx="2035022" cy="2022720"/>
            <a:chOff x="7032153" y="3338300"/>
            <a:chExt cx="2035022" cy="2022720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77567EC-2EF5-71C5-110C-BB7E93C826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2153" y="3338300"/>
              <a:ext cx="2035022" cy="2022720"/>
            </a:xfrm>
            <a:custGeom>
              <a:avLst/>
              <a:gdLst>
                <a:gd name="T0" fmla="*/ 806 w 806"/>
                <a:gd name="T1" fmla="*/ 401 h 806"/>
                <a:gd name="T2" fmla="*/ 733 w 806"/>
                <a:gd name="T3" fmla="*/ 336 h 806"/>
                <a:gd name="T4" fmla="*/ 776 w 806"/>
                <a:gd name="T5" fmla="*/ 248 h 806"/>
                <a:gd name="T6" fmla="*/ 684 w 806"/>
                <a:gd name="T7" fmla="*/ 217 h 806"/>
                <a:gd name="T8" fmla="*/ 687 w 806"/>
                <a:gd name="T9" fmla="*/ 116 h 806"/>
                <a:gd name="T10" fmla="*/ 590 w 806"/>
                <a:gd name="T11" fmla="*/ 122 h 806"/>
                <a:gd name="T12" fmla="*/ 558 w 806"/>
                <a:gd name="T13" fmla="*/ 30 h 806"/>
                <a:gd name="T14" fmla="*/ 470 w 806"/>
                <a:gd name="T15" fmla="*/ 73 h 806"/>
                <a:gd name="T16" fmla="*/ 401 w 806"/>
                <a:gd name="T17" fmla="*/ 0 h 806"/>
                <a:gd name="T18" fmla="*/ 337 w 806"/>
                <a:gd name="T19" fmla="*/ 73 h 806"/>
                <a:gd name="T20" fmla="*/ 249 w 806"/>
                <a:gd name="T21" fmla="*/ 30 h 806"/>
                <a:gd name="T22" fmla="*/ 217 w 806"/>
                <a:gd name="T23" fmla="*/ 122 h 806"/>
                <a:gd name="T24" fmla="*/ 116 w 806"/>
                <a:gd name="T25" fmla="*/ 120 h 806"/>
                <a:gd name="T26" fmla="*/ 123 w 806"/>
                <a:gd name="T27" fmla="*/ 216 h 806"/>
                <a:gd name="T28" fmla="*/ 31 w 806"/>
                <a:gd name="T29" fmla="*/ 248 h 806"/>
                <a:gd name="T30" fmla="*/ 73 w 806"/>
                <a:gd name="T31" fmla="*/ 336 h 806"/>
                <a:gd name="T32" fmla="*/ 0 w 806"/>
                <a:gd name="T33" fmla="*/ 405 h 806"/>
                <a:gd name="T34" fmla="*/ 73 w 806"/>
                <a:gd name="T35" fmla="*/ 469 h 806"/>
                <a:gd name="T36" fmla="*/ 30 w 806"/>
                <a:gd name="T37" fmla="*/ 557 h 806"/>
                <a:gd name="T38" fmla="*/ 122 w 806"/>
                <a:gd name="T39" fmla="*/ 589 h 806"/>
                <a:gd name="T40" fmla="*/ 120 w 806"/>
                <a:gd name="T41" fmla="*/ 690 h 806"/>
                <a:gd name="T42" fmla="*/ 217 w 806"/>
                <a:gd name="T43" fmla="*/ 684 h 806"/>
                <a:gd name="T44" fmla="*/ 249 w 806"/>
                <a:gd name="T45" fmla="*/ 775 h 806"/>
                <a:gd name="T46" fmla="*/ 336 w 806"/>
                <a:gd name="T47" fmla="*/ 733 h 806"/>
                <a:gd name="T48" fmla="*/ 406 w 806"/>
                <a:gd name="T49" fmla="*/ 806 h 806"/>
                <a:gd name="T50" fmla="*/ 470 w 806"/>
                <a:gd name="T51" fmla="*/ 733 h 806"/>
                <a:gd name="T52" fmla="*/ 558 w 806"/>
                <a:gd name="T53" fmla="*/ 776 h 806"/>
                <a:gd name="T54" fmla="*/ 589 w 806"/>
                <a:gd name="T55" fmla="*/ 684 h 806"/>
                <a:gd name="T56" fmla="*/ 690 w 806"/>
                <a:gd name="T57" fmla="*/ 686 h 806"/>
                <a:gd name="T58" fmla="*/ 684 w 806"/>
                <a:gd name="T59" fmla="*/ 589 h 806"/>
                <a:gd name="T60" fmla="*/ 776 w 806"/>
                <a:gd name="T61" fmla="*/ 557 h 806"/>
                <a:gd name="T62" fmla="*/ 733 w 806"/>
                <a:gd name="T63" fmla="*/ 470 h 806"/>
                <a:gd name="T64" fmla="*/ 170 w 806"/>
                <a:gd name="T65" fmla="*/ 517 h 806"/>
                <a:gd name="T66" fmla="*/ 636 w 806"/>
                <a:gd name="T67" fmla="*/ 289 h 806"/>
                <a:gd name="T68" fmla="*/ 170 w 806"/>
                <a:gd name="T69" fmla="*/ 517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6" h="806">
                  <a:moveTo>
                    <a:pt x="740" y="423"/>
                  </a:moveTo>
                  <a:cubicBezTo>
                    <a:pt x="806" y="401"/>
                    <a:pt x="806" y="401"/>
                    <a:pt x="806" y="401"/>
                  </a:cubicBezTo>
                  <a:cubicBezTo>
                    <a:pt x="803" y="349"/>
                    <a:pt x="803" y="349"/>
                    <a:pt x="803" y="349"/>
                  </a:cubicBezTo>
                  <a:cubicBezTo>
                    <a:pt x="733" y="336"/>
                    <a:pt x="733" y="336"/>
                    <a:pt x="733" y="336"/>
                  </a:cubicBezTo>
                  <a:cubicBezTo>
                    <a:pt x="731" y="322"/>
                    <a:pt x="727" y="309"/>
                    <a:pt x="722" y="295"/>
                  </a:cubicBezTo>
                  <a:cubicBezTo>
                    <a:pt x="776" y="248"/>
                    <a:pt x="776" y="248"/>
                    <a:pt x="776" y="248"/>
                  </a:cubicBezTo>
                  <a:cubicBezTo>
                    <a:pt x="754" y="202"/>
                    <a:pt x="754" y="202"/>
                    <a:pt x="754" y="202"/>
                  </a:cubicBezTo>
                  <a:cubicBezTo>
                    <a:pt x="684" y="217"/>
                    <a:pt x="684" y="217"/>
                    <a:pt x="684" y="217"/>
                  </a:cubicBezTo>
                  <a:cubicBezTo>
                    <a:pt x="675" y="204"/>
                    <a:pt x="666" y="191"/>
                    <a:pt x="655" y="179"/>
                  </a:cubicBezTo>
                  <a:cubicBezTo>
                    <a:pt x="687" y="116"/>
                    <a:pt x="687" y="116"/>
                    <a:pt x="687" y="116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590" y="122"/>
                    <a:pt x="590" y="122"/>
                    <a:pt x="590" y="122"/>
                  </a:cubicBezTo>
                  <a:cubicBezTo>
                    <a:pt x="578" y="114"/>
                    <a:pt x="565" y="107"/>
                    <a:pt x="552" y="101"/>
                  </a:cubicBezTo>
                  <a:cubicBezTo>
                    <a:pt x="558" y="30"/>
                    <a:pt x="558" y="30"/>
                    <a:pt x="558" y="30"/>
                  </a:cubicBezTo>
                  <a:cubicBezTo>
                    <a:pt x="509" y="14"/>
                    <a:pt x="509" y="14"/>
                    <a:pt x="509" y="14"/>
                  </a:cubicBezTo>
                  <a:cubicBezTo>
                    <a:pt x="470" y="73"/>
                    <a:pt x="470" y="73"/>
                    <a:pt x="470" y="73"/>
                  </a:cubicBezTo>
                  <a:cubicBezTo>
                    <a:pt x="455" y="70"/>
                    <a:pt x="439" y="68"/>
                    <a:pt x="423" y="67"/>
                  </a:cubicBezTo>
                  <a:cubicBezTo>
                    <a:pt x="401" y="0"/>
                    <a:pt x="401" y="0"/>
                    <a:pt x="401" y="0"/>
                  </a:cubicBezTo>
                  <a:cubicBezTo>
                    <a:pt x="350" y="3"/>
                    <a:pt x="350" y="3"/>
                    <a:pt x="350" y="3"/>
                  </a:cubicBezTo>
                  <a:cubicBezTo>
                    <a:pt x="337" y="73"/>
                    <a:pt x="337" y="73"/>
                    <a:pt x="337" y="73"/>
                  </a:cubicBezTo>
                  <a:cubicBezTo>
                    <a:pt x="323" y="75"/>
                    <a:pt x="309" y="79"/>
                    <a:pt x="295" y="84"/>
                  </a:cubicBezTo>
                  <a:cubicBezTo>
                    <a:pt x="249" y="30"/>
                    <a:pt x="249" y="30"/>
                    <a:pt x="249" y="30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04" y="131"/>
                    <a:pt x="191" y="140"/>
                    <a:pt x="179" y="151"/>
                  </a:cubicBezTo>
                  <a:cubicBezTo>
                    <a:pt x="116" y="120"/>
                    <a:pt x="116" y="120"/>
                    <a:pt x="116" y="120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123" y="216"/>
                    <a:pt x="123" y="216"/>
                    <a:pt x="123" y="216"/>
                  </a:cubicBezTo>
                  <a:cubicBezTo>
                    <a:pt x="115" y="228"/>
                    <a:pt x="107" y="241"/>
                    <a:pt x="101" y="254"/>
                  </a:cubicBezTo>
                  <a:cubicBezTo>
                    <a:pt x="31" y="248"/>
                    <a:pt x="31" y="248"/>
                    <a:pt x="31" y="248"/>
                  </a:cubicBezTo>
                  <a:cubicBezTo>
                    <a:pt x="14" y="297"/>
                    <a:pt x="14" y="297"/>
                    <a:pt x="14" y="297"/>
                  </a:cubicBezTo>
                  <a:cubicBezTo>
                    <a:pt x="73" y="336"/>
                    <a:pt x="73" y="336"/>
                    <a:pt x="73" y="336"/>
                  </a:cubicBezTo>
                  <a:cubicBezTo>
                    <a:pt x="70" y="351"/>
                    <a:pt x="68" y="367"/>
                    <a:pt x="67" y="383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4" y="456"/>
                    <a:pt x="4" y="456"/>
                    <a:pt x="4" y="456"/>
                  </a:cubicBezTo>
                  <a:cubicBezTo>
                    <a:pt x="73" y="469"/>
                    <a:pt x="73" y="469"/>
                    <a:pt x="73" y="469"/>
                  </a:cubicBezTo>
                  <a:cubicBezTo>
                    <a:pt x="76" y="483"/>
                    <a:pt x="79" y="497"/>
                    <a:pt x="84" y="511"/>
                  </a:cubicBezTo>
                  <a:cubicBezTo>
                    <a:pt x="30" y="557"/>
                    <a:pt x="30" y="557"/>
                    <a:pt x="30" y="557"/>
                  </a:cubicBezTo>
                  <a:cubicBezTo>
                    <a:pt x="52" y="603"/>
                    <a:pt x="52" y="603"/>
                    <a:pt x="52" y="603"/>
                  </a:cubicBezTo>
                  <a:cubicBezTo>
                    <a:pt x="122" y="589"/>
                    <a:pt x="122" y="589"/>
                    <a:pt x="122" y="589"/>
                  </a:cubicBezTo>
                  <a:cubicBezTo>
                    <a:pt x="131" y="602"/>
                    <a:pt x="141" y="615"/>
                    <a:pt x="151" y="627"/>
                  </a:cubicBezTo>
                  <a:cubicBezTo>
                    <a:pt x="120" y="690"/>
                    <a:pt x="120" y="690"/>
                    <a:pt x="120" y="690"/>
                  </a:cubicBezTo>
                  <a:cubicBezTo>
                    <a:pt x="158" y="723"/>
                    <a:pt x="158" y="723"/>
                    <a:pt x="158" y="723"/>
                  </a:cubicBezTo>
                  <a:cubicBezTo>
                    <a:pt x="217" y="684"/>
                    <a:pt x="217" y="684"/>
                    <a:pt x="217" y="684"/>
                  </a:cubicBezTo>
                  <a:cubicBezTo>
                    <a:pt x="229" y="692"/>
                    <a:pt x="241" y="699"/>
                    <a:pt x="254" y="705"/>
                  </a:cubicBezTo>
                  <a:cubicBezTo>
                    <a:pt x="249" y="775"/>
                    <a:pt x="249" y="775"/>
                    <a:pt x="249" y="775"/>
                  </a:cubicBezTo>
                  <a:cubicBezTo>
                    <a:pt x="297" y="792"/>
                    <a:pt x="297" y="792"/>
                    <a:pt x="297" y="792"/>
                  </a:cubicBezTo>
                  <a:cubicBezTo>
                    <a:pt x="336" y="733"/>
                    <a:pt x="336" y="733"/>
                    <a:pt x="336" y="733"/>
                  </a:cubicBezTo>
                  <a:cubicBezTo>
                    <a:pt x="352" y="736"/>
                    <a:pt x="367" y="738"/>
                    <a:pt x="383" y="739"/>
                  </a:cubicBezTo>
                  <a:cubicBezTo>
                    <a:pt x="406" y="806"/>
                    <a:pt x="406" y="806"/>
                    <a:pt x="406" y="806"/>
                  </a:cubicBezTo>
                  <a:cubicBezTo>
                    <a:pt x="457" y="803"/>
                    <a:pt x="457" y="803"/>
                    <a:pt x="457" y="803"/>
                  </a:cubicBezTo>
                  <a:cubicBezTo>
                    <a:pt x="470" y="733"/>
                    <a:pt x="470" y="733"/>
                    <a:pt x="470" y="733"/>
                  </a:cubicBezTo>
                  <a:cubicBezTo>
                    <a:pt x="484" y="730"/>
                    <a:pt x="498" y="727"/>
                    <a:pt x="511" y="722"/>
                  </a:cubicBezTo>
                  <a:cubicBezTo>
                    <a:pt x="558" y="776"/>
                    <a:pt x="558" y="776"/>
                    <a:pt x="558" y="776"/>
                  </a:cubicBezTo>
                  <a:cubicBezTo>
                    <a:pt x="604" y="754"/>
                    <a:pt x="604" y="754"/>
                    <a:pt x="604" y="754"/>
                  </a:cubicBezTo>
                  <a:cubicBezTo>
                    <a:pt x="589" y="684"/>
                    <a:pt x="589" y="684"/>
                    <a:pt x="589" y="684"/>
                  </a:cubicBezTo>
                  <a:cubicBezTo>
                    <a:pt x="603" y="675"/>
                    <a:pt x="615" y="665"/>
                    <a:pt x="627" y="655"/>
                  </a:cubicBezTo>
                  <a:cubicBezTo>
                    <a:pt x="690" y="686"/>
                    <a:pt x="690" y="686"/>
                    <a:pt x="690" y="686"/>
                  </a:cubicBezTo>
                  <a:cubicBezTo>
                    <a:pt x="724" y="648"/>
                    <a:pt x="724" y="648"/>
                    <a:pt x="724" y="648"/>
                  </a:cubicBezTo>
                  <a:cubicBezTo>
                    <a:pt x="684" y="589"/>
                    <a:pt x="684" y="589"/>
                    <a:pt x="684" y="589"/>
                  </a:cubicBezTo>
                  <a:cubicBezTo>
                    <a:pt x="692" y="577"/>
                    <a:pt x="699" y="565"/>
                    <a:pt x="705" y="552"/>
                  </a:cubicBezTo>
                  <a:cubicBezTo>
                    <a:pt x="776" y="557"/>
                    <a:pt x="776" y="557"/>
                    <a:pt x="776" y="557"/>
                  </a:cubicBezTo>
                  <a:cubicBezTo>
                    <a:pt x="792" y="509"/>
                    <a:pt x="792" y="509"/>
                    <a:pt x="792" y="509"/>
                  </a:cubicBezTo>
                  <a:cubicBezTo>
                    <a:pt x="733" y="470"/>
                    <a:pt x="733" y="470"/>
                    <a:pt x="733" y="470"/>
                  </a:cubicBezTo>
                  <a:cubicBezTo>
                    <a:pt x="736" y="455"/>
                    <a:pt x="739" y="439"/>
                    <a:pt x="740" y="423"/>
                  </a:cubicBezTo>
                  <a:close/>
                  <a:moveTo>
                    <a:pt x="170" y="517"/>
                  </a:moveTo>
                  <a:cubicBezTo>
                    <a:pt x="107" y="388"/>
                    <a:pt x="161" y="233"/>
                    <a:pt x="289" y="170"/>
                  </a:cubicBezTo>
                  <a:cubicBezTo>
                    <a:pt x="418" y="107"/>
                    <a:pt x="573" y="160"/>
                    <a:pt x="636" y="289"/>
                  </a:cubicBezTo>
                  <a:cubicBezTo>
                    <a:pt x="699" y="417"/>
                    <a:pt x="646" y="573"/>
                    <a:pt x="517" y="636"/>
                  </a:cubicBezTo>
                  <a:cubicBezTo>
                    <a:pt x="389" y="699"/>
                    <a:pt x="233" y="646"/>
                    <a:pt x="170" y="51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th-TH" sz="675"/>
            </a:p>
          </p:txBody>
        </p:sp>
        <p:grpSp>
          <p:nvGrpSpPr>
            <p:cNvPr id="25" name="Group 69">
              <a:extLst>
                <a:ext uri="{FF2B5EF4-FFF2-40B4-BE49-F238E27FC236}">
                  <a16:creationId xmlns:a16="http://schemas.microsoft.com/office/drawing/2014/main" id="{6C60F828-EC3A-C880-F568-9B6662705E62}"/>
                </a:ext>
              </a:extLst>
            </p:cNvPr>
            <p:cNvGrpSpPr/>
            <p:nvPr/>
          </p:nvGrpSpPr>
          <p:grpSpPr>
            <a:xfrm>
              <a:off x="7777549" y="4006815"/>
              <a:ext cx="569994" cy="657290"/>
              <a:chOff x="4425950" y="3640138"/>
              <a:chExt cx="593725" cy="655637"/>
            </a:xfrm>
            <a:solidFill>
              <a:srgbClr val="575757"/>
            </a:solidFill>
          </p:grpSpPr>
          <p:sp>
            <p:nvSpPr>
              <p:cNvPr id="26" name="Freeform 23">
                <a:extLst>
                  <a:ext uri="{FF2B5EF4-FFF2-40B4-BE49-F238E27FC236}">
                    <a16:creationId xmlns:a16="http://schemas.microsoft.com/office/drawing/2014/main" id="{0EDAF2D4-579B-6D01-E7BF-4C2969EF12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5800" y="3640138"/>
                <a:ext cx="141288" cy="141287"/>
              </a:xfrm>
              <a:custGeom>
                <a:avLst/>
                <a:gdLst/>
                <a:ahLst/>
                <a:cxnLst>
                  <a:cxn ang="0">
                    <a:pos x="85" y="42"/>
                  </a:cxn>
                  <a:cxn ang="0">
                    <a:pos x="43" y="85"/>
                  </a:cxn>
                  <a:cxn ang="0">
                    <a:pos x="0" y="42"/>
                  </a:cxn>
                  <a:cxn ang="0">
                    <a:pos x="43" y="0"/>
                  </a:cxn>
                  <a:cxn ang="0">
                    <a:pos x="85" y="42"/>
                  </a:cxn>
                  <a:cxn ang="0">
                    <a:pos x="85" y="42"/>
                  </a:cxn>
                  <a:cxn ang="0">
                    <a:pos x="85" y="42"/>
                  </a:cxn>
                </a:cxnLst>
                <a:rect l="0" t="0" r="r" b="b"/>
                <a:pathLst>
                  <a:path w="85" h="85">
                    <a:moveTo>
                      <a:pt x="85" y="42"/>
                    </a:moveTo>
                    <a:cubicBezTo>
                      <a:pt x="85" y="66"/>
                      <a:pt x="66" y="85"/>
                      <a:pt x="43" y="85"/>
                    </a:cubicBezTo>
                    <a:cubicBezTo>
                      <a:pt x="19" y="85"/>
                      <a:pt x="0" y="66"/>
                      <a:pt x="0" y="42"/>
                    </a:cubicBezTo>
                    <a:cubicBezTo>
                      <a:pt x="0" y="19"/>
                      <a:pt x="19" y="0"/>
                      <a:pt x="43" y="0"/>
                    </a:cubicBezTo>
                    <a:cubicBezTo>
                      <a:pt x="66" y="0"/>
                      <a:pt x="85" y="19"/>
                      <a:pt x="85" y="42"/>
                    </a:cubicBezTo>
                    <a:close/>
                    <a:moveTo>
                      <a:pt x="85" y="42"/>
                    </a:moveTo>
                    <a:cubicBezTo>
                      <a:pt x="85" y="42"/>
                      <a:pt x="85" y="42"/>
                      <a:pt x="85" y="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4">
                <a:extLst>
                  <a:ext uri="{FF2B5EF4-FFF2-40B4-BE49-F238E27FC236}">
                    <a16:creationId xmlns:a16="http://schemas.microsoft.com/office/drawing/2014/main" id="{36948AD1-B4A6-FF59-2E1E-AE2786FD2F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27575" y="3640138"/>
                <a:ext cx="141288" cy="141287"/>
              </a:xfrm>
              <a:custGeom>
                <a:avLst/>
                <a:gdLst/>
                <a:ahLst/>
                <a:cxnLst>
                  <a:cxn ang="0">
                    <a:pos x="85" y="42"/>
                  </a:cxn>
                  <a:cxn ang="0">
                    <a:pos x="43" y="85"/>
                  </a:cxn>
                  <a:cxn ang="0">
                    <a:pos x="0" y="42"/>
                  </a:cxn>
                  <a:cxn ang="0">
                    <a:pos x="43" y="0"/>
                  </a:cxn>
                  <a:cxn ang="0">
                    <a:pos x="85" y="42"/>
                  </a:cxn>
                  <a:cxn ang="0">
                    <a:pos x="85" y="42"/>
                  </a:cxn>
                  <a:cxn ang="0">
                    <a:pos x="85" y="42"/>
                  </a:cxn>
                </a:cxnLst>
                <a:rect l="0" t="0" r="r" b="b"/>
                <a:pathLst>
                  <a:path w="85" h="85">
                    <a:moveTo>
                      <a:pt x="85" y="42"/>
                    </a:moveTo>
                    <a:cubicBezTo>
                      <a:pt x="85" y="66"/>
                      <a:pt x="66" y="85"/>
                      <a:pt x="43" y="85"/>
                    </a:cubicBezTo>
                    <a:cubicBezTo>
                      <a:pt x="19" y="85"/>
                      <a:pt x="0" y="66"/>
                      <a:pt x="0" y="42"/>
                    </a:cubicBezTo>
                    <a:cubicBezTo>
                      <a:pt x="0" y="19"/>
                      <a:pt x="19" y="0"/>
                      <a:pt x="43" y="0"/>
                    </a:cubicBezTo>
                    <a:cubicBezTo>
                      <a:pt x="66" y="0"/>
                      <a:pt x="85" y="19"/>
                      <a:pt x="85" y="42"/>
                    </a:cubicBezTo>
                    <a:close/>
                    <a:moveTo>
                      <a:pt x="85" y="42"/>
                    </a:moveTo>
                    <a:cubicBezTo>
                      <a:pt x="85" y="42"/>
                      <a:pt x="85" y="42"/>
                      <a:pt x="85" y="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5">
                <a:extLst>
                  <a:ext uri="{FF2B5EF4-FFF2-40B4-BE49-F238E27FC236}">
                    <a16:creationId xmlns:a16="http://schemas.microsoft.com/office/drawing/2014/main" id="{DFC5C796-583E-2874-32FD-02E84DD7E6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43463" y="4206875"/>
                <a:ext cx="73025" cy="889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0"/>
                  </a:cxn>
                  <a:cxn ang="0">
                    <a:pos x="22" y="53"/>
                  </a:cxn>
                  <a:cxn ang="0">
                    <a:pos x="22" y="53"/>
                  </a:cxn>
                  <a:cxn ang="0">
                    <a:pos x="44" y="30"/>
                  </a:cxn>
                  <a:cxn ang="0">
                    <a:pos x="44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4" h="53">
                    <a:moveTo>
                      <a:pt x="0" y="0"/>
                    </a:moveTo>
                    <a:cubicBezTo>
                      <a:pt x="0" y="30"/>
                      <a:pt x="0" y="30"/>
                      <a:pt x="0" y="30"/>
                    </a:cubicBezTo>
                    <a:cubicBezTo>
                      <a:pt x="0" y="43"/>
                      <a:pt x="10" y="53"/>
                      <a:pt x="22" y="53"/>
                    </a:cubicBezTo>
                    <a:cubicBezTo>
                      <a:pt x="22" y="53"/>
                      <a:pt x="22" y="53"/>
                      <a:pt x="22" y="53"/>
                    </a:cubicBezTo>
                    <a:cubicBezTo>
                      <a:pt x="34" y="53"/>
                      <a:pt x="44" y="43"/>
                      <a:pt x="44" y="30"/>
                    </a:cubicBezTo>
                    <a:cubicBezTo>
                      <a:pt x="44" y="0"/>
                      <a:pt x="44" y="0"/>
                      <a:pt x="44" y="0"/>
                    </a:cubicBezTo>
                    <a:lnTo>
                      <a:pt x="0" y="0"/>
                    </a:ln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6">
                <a:extLst>
                  <a:ext uri="{FF2B5EF4-FFF2-40B4-BE49-F238E27FC236}">
                    <a16:creationId xmlns:a16="http://schemas.microsoft.com/office/drawing/2014/main" id="{D5DC8A95-52FF-F1BE-2727-85444ADDDD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5950" y="3776663"/>
                <a:ext cx="593725" cy="519112"/>
              </a:xfrm>
              <a:custGeom>
                <a:avLst/>
                <a:gdLst/>
                <a:ahLst/>
                <a:cxnLst>
                  <a:cxn ang="0">
                    <a:pos x="327" y="159"/>
                  </a:cxn>
                  <a:cxn ang="0">
                    <a:pos x="312" y="142"/>
                  </a:cxn>
                  <a:cxn ang="0">
                    <a:pos x="312" y="138"/>
                  </a:cxn>
                  <a:cxn ang="0">
                    <a:pos x="284" y="26"/>
                  </a:cxn>
                  <a:cxn ang="0">
                    <a:pos x="254" y="0"/>
                  </a:cxn>
                  <a:cxn ang="0">
                    <a:pos x="254" y="0"/>
                  </a:cxn>
                  <a:cxn ang="0">
                    <a:pos x="244" y="1"/>
                  </a:cxn>
                  <a:cxn ang="0">
                    <a:pos x="235" y="4"/>
                  </a:cxn>
                  <a:cxn ang="0">
                    <a:pos x="213" y="34"/>
                  </a:cxn>
                  <a:cxn ang="0">
                    <a:pos x="212" y="35"/>
                  </a:cxn>
                  <a:cxn ang="0">
                    <a:pos x="201" y="74"/>
                  </a:cxn>
                  <a:cxn ang="0">
                    <a:pos x="154" y="82"/>
                  </a:cxn>
                  <a:cxn ang="0">
                    <a:pos x="140" y="90"/>
                  </a:cxn>
                  <a:cxn ang="0">
                    <a:pos x="111" y="77"/>
                  </a:cxn>
                  <a:cxn ang="0">
                    <a:pos x="99" y="35"/>
                  </a:cxn>
                  <a:cxn ang="0">
                    <a:pos x="99" y="34"/>
                  </a:cxn>
                  <a:cxn ang="0">
                    <a:pos x="76" y="4"/>
                  </a:cxn>
                  <a:cxn ang="0">
                    <a:pos x="68" y="1"/>
                  </a:cxn>
                  <a:cxn ang="0">
                    <a:pos x="58" y="0"/>
                  </a:cxn>
                  <a:cxn ang="0">
                    <a:pos x="58" y="0"/>
                  </a:cxn>
                  <a:cxn ang="0">
                    <a:pos x="22" y="26"/>
                  </a:cxn>
                  <a:cxn ang="0">
                    <a:pos x="3" y="117"/>
                  </a:cxn>
                  <a:cxn ang="0">
                    <a:pos x="14" y="148"/>
                  </a:cxn>
                  <a:cxn ang="0">
                    <a:pos x="14" y="289"/>
                  </a:cxn>
                  <a:cxn ang="0">
                    <a:pos x="37" y="312"/>
                  </a:cxn>
                  <a:cxn ang="0">
                    <a:pos x="59" y="289"/>
                  </a:cxn>
                  <a:cxn ang="0">
                    <a:pos x="59" y="156"/>
                  </a:cxn>
                  <a:cxn ang="0">
                    <a:pos x="79" y="134"/>
                  </a:cxn>
                  <a:cxn ang="0">
                    <a:pos x="86" y="99"/>
                  </a:cxn>
                  <a:cxn ang="0">
                    <a:pos x="152" y="125"/>
                  </a:cxn>
                  <a:cxn ang="0">
                    <a:pos x="154" y="126"/>
                  </a:cxn>
                  <a:cxn ang="0">
                    <a:pos x="170" y="115"/>
                  </a:cxn>
                  <a:cxn ang="0">
                    <a:pos x="225" y="96"/>
                  </a:cxn>
                  <a:cxn ang="0">
                    <a:pos x="233" y="134"/>
                  </a:cxn>
                  <a:cxn ang="0">
                    <a:pos x="249" y="154"/>
                  </a:cxn>
                  <a:cxn ang="0">
                    <a:pos x="260" y="154"/>
                  </a:cxn>
                  <a:cxn ang="0">
                    <a:pos x="273" y="139"/>
                  </a:cxn>
                  <a:cxn ang="0">
                    <a:pos x="253" y="71"/>
                  </a:cxn>
                  <a:cxn ang="0">
                    <a:pos x="258" y="68"/>
                  </a:cxn>
                  <a:cxn ang="0">
                    <a:pos x="279" y="142"/>
                  </a:cxn>
                  <a:cxn ang="0">
                    <a:pos x="264" y="159"/>
                  </a:cxn>
                  <a:cxn ang="0">
                    <a:pos x="232" y="159"/>
                  </a:cxn>
                  <a:cxn ang="0">
                    <a:pos x="232" y="253"/>
                  </a:cxn>
                  <a:cxn ang="0">
                    <a:pos x="359" y="253"/>
                  </a:cxn>
                  <a:cxn ang="0">
                    <a:pos x="359" y="159"/>
                  </a:cxn>
                  <a:cxn ang="0">
                    <a:pos x="327" y="159"/>
                  </a:cxn>
                  <a:cxn ang="0">
                    <a:pos x="275" y="159"/>
                  </a:cxn>
                  <a:cxn ang="0">
                    <a:pos x="284" y="152"/>
                  </a:cxn>
                  <a:cxn ang="0">
                    <a:pos x="296" y="157"/>
                  </a:cxn>
                  <a:cxn ang="0">
                    <a:pos x="299" y="157"/>
                  </a:cxn>
                  <a:cxn ang="0">
                    <a:pos x="308" y="152"/>
                  </a:cxn>
                  <a:cxn ang="0">
                    <a:pos x="316" y="159"/>
                  </a:cxn>
                  <a:cxn ang="0">
                    <a:pos x="275" y="159"/>
                  </a:cxn>
                  <a:cxn ang="0">
                    <a:pos x="275" y="159"/>
                  </a:cxn>
                  <a:cxn ang="0">
                    <a:pos x="275" y="159"/>
                  </a:cxn>
                </a:cxnLst>
                <a:rect l="0" t="0" r="r" b="b"/>
                <a:pathLst>
                  <a:path w="359" h="312">
                    <a:moveTo>
                      <a:pt x="327" y="159"/>
                    </a:moveTo>
                    <a:cubicBezTo>
                      <a:pt x="326" y="151"/>
                      <a:pt x="320" y="144"/>
                      <a:pt x="312" y="142"/>
                    </a:cubicBezTo>
                    <a:cubicBezTo>
                      <a:pt x="312" y="140"/>
                      <a:pt x="312" y="139"/>
                      <a:pt x="312" y="138"/>
                    </a:cubicBezTo>
                    <a:cubicBezTo>
                      <a:pt x="310" y="127"/>
                      <a:pt x="284" y="26"/>
                      <a:pt x="284" y="26"/>
                    </a:cubicBezTo>
                    <a:cubicBezTo>
                      <a:pt x="280" y="9"/>
                      <a:pt x="269" y="1"/>
                      <a:pt x="254" y="0"/>
                    </a:cubicBezTo>
                    <a:cubicBezTo>
                      <a:pt x="254" y="0"/>
                      <a:pt x="254" y="0"/>
                      <a:pt x="254" y="0"/>
                    </a:cubicBezTo>
                    <a:cubicBezTo>
                      <a:pt x="254" y="0"/>
                      <a:pt x="249" y="0"/>
                      <a:pt x="244" y="1"/>
                    </a:cubicBezTo>
                    <a:cubicBezTo>
                      <a:pt x="239" y="2"/>
                      <a:pt x="235" y="4"/>
                      <a:pt x="235" y="4"/>
                    </a:cubicBezTo>
                    <a:cubicBezTo>
                      <a:pt x="225" y="10"/>
                      <a:pt x="214" y="20"/>
                      <a:pt x="213" y="34"/>
                    </a:cubicBezTo>
                    <a:cubicBezTo>
                      <a:pt x="213" y="34"/>
                      <a:pt x="213" y="35"/>
                      <a:pt x="212" y="35"/>
                    </a:cubicBezTo>
                    <a:cubicBezTo>
                      <a:pt x="210" y="56"/>
                      <a:pt x="207" y="68"/>
                      <a:pt x="201" y="74"/>
                    </a:cubicBezTo>
                    <a:cubicBezTo>
                      <a:pt x="194" y="80"/>
                      <a:pt x="180" y="82"/>
                      <a:pt x="154" y="82"/>
                    </a:cubicBezTo>
                    <a:cubicBezTo>
                      <a:pt x="148" y="82"/>
                      <a:pt x="143" y="85"/>
                      <a:pt x="140" y="90"/>
                    </a:cubicBezTo>
                    <a:cubicBezTo>
                      <a:pt x="125" y="87"/>
                      <a:pt x="116" y="83"/>
                      <a:pt x="111" y="77"/>
                    </a:cubicBezTo>
                    <a:cubicBezTo>
                      <a:pt x="105" y="70"/>
                      <a:pt x="102" y="57"/>
                      <a:pt x="99" y="35"/>
                    </a:cubicBezTo>
                    <a:cubicBezTo>
                      <a:pt x="99" y="35"/>
                      <a:pt x="99" y="34"/>
                      <a:pt x="99" y="34"/>
                    </a:cubicBezTo>
                    <a:cubicBezTo>
                      <a:pt x="98" y="20"/>
                      <a:pt x="87" y="10"/>
                      <a:pt x="76" y="4"/>
                    </a:cubicBezTo>
                    <a:cubicBezTo>
                      <a:pt x="76" y="4"/>
                      <a:pt x="72" y="2"/>
                      <a:pt x="68" y="1"/>
                    </a:cubicBezTo>
                    <a:cubicBezTo>
                      <a:pt x="63" y="0"/>
                      <a:pt x="58" y="0"/>
                      <a:pt x="58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43" y="1"/>
                      <a:pt x="26" y="9"/>
                      <a:pt x="22" y="26"/>
                    </a:cubicBezTo>
                    <a:cubicBezTo>
                      <a:pt x="3" y="117"/>
                      <a:pt x="3" y="117"/>
                      <a:pt x="3" y="117"/>
                    </a:cubicBezTo>
                    <a:cubicBezTo>
                      <a:pt x="0" y="130"/>
                      <a:pt x="6" y="141"/>
                      <a:pt x="14" y="148"/>
                    </a:cubicBezTo>
                    <a:cubicBezTo>
                      <a:pt x="14" y="289"/>
                      <a:pt x="14" y="289"/>
                      <a:pt x="14" y="289"/>
                    </a:cubicBezTo>
                    <a:cubicBezTo>
                      <a:pt x="14" y="302"/>
                      <a:pt x="24" y="312"/>
                      <a:pt x="37" y="312"/>
                    </a:cubicBezTo>
                    <a:cubicBezTo>
                      <a:pt x="49" y="312"/>
                      <a:pt x="59" y="302"/>
                      <a:pt x="59" y="289"/>
                    </a:cubicBezTo>
                    <a:cubicBezTo>
                      <a:pt x="59" y="156"/>
                      <a:pt x="59" y="156"/>
                      <a:pt x="59" y="156"/>
                    </a:cubicBezTo>
                    <a:cubicBezTo>
                      <a:pt x="68" y="152"/>
                      <a:pt x="76" y="145"/>
                      <a:pt x="79" y="134"/>
                    </a:cubicBezTo>
                    <a:cubicBezTo>
                      <a:pt x="86" y="99"/>
                      <a:pt x="86" y="99"/>
                      <a:pt x="86" y="99"/>
                    </a:cubicBezTo>
                    <a:cubicBezTo>
                      <a:pt x="98" y="113"/>
                      <a:pt x="117" y="121"/>
                      <a:pt x="152" y="125"/>
                    </a:cubicBezTo>
                    <a:cubicBezTo>
                      <a:pt x="153" y="126"/>
                      <a:pt x="154" y="126"/>
                      <a:pt x="154" y="126"/>
                    </a:cubicBezTo>
                    <a:cubicBezTo>
                      <a:pt x="161" y="126"/>
                      <a:pt x="168" y="121"/>
                      <a:pt x="170" y="115"/>
                    </a:cubicBezTo>
                    <a:cubicBezTo>
                      <a:pt x="197" y="113"/>
                      <a:pt x="214" y="108"/>
                      <a:pt x="225" y="96"/>
                    </a:cubicBezTo>
                    <a:cubicBezTo>
                      <a:pt x="233" y="134"/>
                      <a:pt x="233" y="134"/>
                      <a:pt x="233" y="134"/>
                    </a:cubicBezTo>
                    <a:cubicBezTo>
                      <a:pt x="235" y="143"/>
                      <a:pt x="241" y="150"/>
                      <a:pt x="249" y="154"/>
                    </a:cubicBezTo>
                    <a:cubicBezTo>
                      <a:pt x="260" y="154"/>
                      <a:pt x="260" y="154"/>
                      <a:pt x="260" y="154"/>
                    </a:cubicBezTo>
                    <a:cubicBezTo>
                      <a:pt x="262" y="148"/>
                      <a:pt x="267" y="142"/>
                      <a:pt x="273" y="139"/>
                    </a:cubicBezTo>
                    <a:cubicBezTo>
                      <a:pt x="267" y="113"/>
                      <a:pt x="259" y="86"/>
                      <a:pt x="253" y="71"/>
                    </a:cubicBezTo>
                    <a:cubicBezTo>
                      <a:pt x="248" y="62"/>
                      <a:pt x="255" y="59"/>
                      <a:pt x="258" y="68"/>
                    </a:cubicBezTo>
                    <a:cubicBezTo>
                      <a:pt x="261" y="77"/>
                      <a:pt x="274" y="116"/>
                      <a:pt x="279" y="142"/>
                    </a:cubicBezTo>
                    <a:cubicBezTo>
                      <a:pt x="271" y="144"/>
                      <a:pt x="265" y="151"/>
                      <a:pt x="264" y="159"/>
                    </a:cubicBezTo>
                    <a:cubicBezTo>
                      <a:pt x="232" y="159"/>
                      <a:pt x="232" y="159"/>
                      <a:pt x="232" y="159"/>
                    </a:cubicBezTo>
                    <a:cubicBezTo>
                      <a:pt x="232" y="253"/>
                      <a:pt x="232" y="253"/>
                      <a:pt x="232" y="253"/>
                    </a:cubicBezTo>
                    <a:cubicBezTo>
                      <a:pt x="359" y="253"/>
                      <a:pt x="359" y="253"/>
                      <a:pt x="359" y="253"/>
                    </a:cubicBezTo>
                    <a:cubicBezTo>
                      <a:pt x="359" y="159"/>
                      <a:pt x="359" y="159"/>
                      <a:pt x="359" y="159"/>
                    </a:cubicBezTo>
                    <a:lnTo>
                      <a:pt x="327" y="159"/>
                    </a:lnTo>
                    <a:close/>
                    <a:moveTo>
                      <a:pt x="275" y="159"/>
                    </a:moveTo>
                    <a:cubicBezTo>
                      <a:pt x="277" y="155"/>
                      <a:pt x="280" y="153"/>
                      <a:pt x="284" y="152"/>
                    </a:cubicBezTo>
                    <a:cubicBezTo>
                      <a:pt x="287" y="155"/>
                      <a:pt x="291" y="157"/>
                      <a:pt x="296" y="157"/>
                    </a:cubicBezTo>
                    <a:cubicBezTo>
                      <a:pt x="297" y="157"/>
                      <a:pt x="298" y="157"/>
                      <a:pt x="299" y="157"/>
                    </a:cubicBezTo>
                    <a:cubicBezTo>
                      <a:pt x="302" y="156"/>
                      <a:pt x="305" y="154"/>
                      <a:pt x="308" y="152"/>
                    </a:cubicBezTo>
                    <a:cubicBezTo>
                      <a:pt x="312" y="153"/>
                      <a:pt x="315" y="155"/>
                      <a:pt x="316" y="159"/>
                    </a:cubicBezTo>
                    <a:lnTo>
                      <a:pt x="275" y="159"/>
                    </a:lnTo>
                    <a:close/>
                    <a:moveTo>
                      <a:pt x="275" y="159"/>
                    </a:moveTo>
                    <a:cubicBezTo>
                      <a:pt x="275" y="159"/>
                      <a:pt x="275" y="159"/>
                      <a:pt x="275" y="15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C0F0B7E-E34E-BD80-BAB1-A95311BBDADD}"/>
              </a:ext>
            </a:extLst>
          </p:cNvPr>
          <p:cNvGrpSpPr/>
          <p:nvPr/>
        </p:nvGrpSpPr>
        <p:grpSpPr>
          <a:xfrm>
            <a:off x="3315944" y="3774014"/>
            <a:ext cx="2035022" cy="2022720"/>
            <a:chOff x="3315944" y="3526364"/>
            <a:chExt cx="2035022" cy="2022720"/>
          </a:xfrm>
        </p:grpSpPr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FC2D2FBB-F51C-4079-E586-295FA0D9C1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5944" y="3526364"/>
              <a:ext cx="2035022" cy="2022720"/>
            </a:xfrm>
            <a:custGeom>
              <a:avLst/>
              <a:gdLst>
                <a:gd name="T0" fmla="*/ 806 w 806"/>
                <a:gd name="T1" fmla="*/ 401 h 806"/>
                <a:gd name="T2" fmla="*/ 733 w 806"/>
                <a:gd name="T3" fmla="*/ 336 h 806"/>
                <a:gd name="T4" fmla="*/ 776 w 806"/>
                <a:gd name="T5" fmla="*/ 248 h 806"/>
                <a:gd name="T6" fmla="*/ 684 w 806"/>
                <a:gd name="T7" fmla="*/ 217 h 806"/>
                <a:gd name="T8" fmla="*/ 687 w 806"/>
                <a:gd name="T9" fmla="*/ 116 h 806"/>
                <a:gd name="T10" fmla="*/ 590 w 806"/>
                <a:gd name="T11" fmla="*/ 122 h 806"/>
                <a:gd name="T12" fmla="*/ 558 w 806"/>
                <a:gd name="T13" fmla="*/ 30 h 806"/>
                <a:gd name="T14" fmla="*/ 470 w 806"/>
                <a:gd name="T15" fmla="*/ 73 h 806"/>
                <a:gd name="T16" fmla="*/ 401 w 806"/>
                <a:gd name="T17" fmla="*/ 0 h 806"/>
                <a:gd name="T18" fmla="*/ 337 w 806"/>
                <a:gd name="T19" fmla="*/ 73 h 806"/>
                <a:gd name="T20" fmla="*/ 249 w 806"/>
                <a:gd name="T21" fmla="*/ 30 h 806"/>
                <a:gd name="T22" fmla="*/ 217 w 806"/>
                <a:gd name="T23" fmla="*/ 122 h 806"/>
                <a:gd name="T24" fmla="*/ 116 w 806"/>
                <a:gd name="T25" fmla="*/ 120 h 806"/>
                <a:gd name="T26" fmla="*/ 123 w 806"/>
                <a:gd name="T27" fmla="*/ 216 h 806"/>
                <a:gd name="T28" fmla="*/ 31 w 806"/>
                <a:gd name="T29" fmla="*/ 248 h 806"/>
                <a:gd name="T30" fmla="*/ 73 w 806"/>
                <a:gd name="T31" fmla="*/ 336 h 806"/>
                <a:gd name="T32" fmla="*/ 0 w 806"/>
                <a:gd name="T33" fmla="*/ 405 h 806"/>
                <a:gd name="T34" fmla="*/ 73 w 806"/>
                <a:gd name="T35" fmla="*/ 469 h 806"/>
                <a:gd name="T36" fmla="*/ 30 w 806"/>
                <a:gd name="T37" fmla="*/ 557 h 806"/>
                <a:gd name="T38" fmla="*/ 122 w 806"/>
                <a:gd name="T39" fmla="*/ 589 h 806"/>
                <a:gd name="T40" fmla="*/ 120 w 806"/>
                <a:gd name="T41" fmla="*/ 690 h 806"/>
                <a:gd name="T42" fmla="*/ 217 w 806"/>
                <a:gd name="T43" fmla="*/ 684 h 806"/>
                <a:gd name="T44" fmla="*/ 249 w 806"/>
                <a:gd name="T45" fmla="*/ 775 h 806"/>
                <a:gd name="T46" fmla="*/ 336 w 806"/>
                <a:gd name="T47" fmla="*/ 733 h 806"/>
                <a:gd name="T48" fmla="*/ 406 w 806"/>
                <a:gd name="T49" fmla="*/ 806 h 806"/>
                <a:gd name="T50" fmla="*/ 470 w 806"/>
                <a:gd name="T51" fmla="*/ 733 h 806"/>
                <a:gd name="T52" fmla="*/ 558 w 806"/>
                <a:gd name="T53" fmla="*/ 776 h 806"/>
                <a:gd name="T54" fmla="*/ 589 w 806"/>
                <a:gd name="T55" fmla="*/ 684 h 806"/>
                <a:gd name="T56" fmla="*/ 690 w 806"/>
                <a:gd name="T57" fmla="*/ 686 h 806"/>
                <a:gd name="T58" fmla="*/ 684 w 806"/>
                <a:gd name="T59" fmla="*/ 589 h 806"/>
                <a:gd name="T60" fmla="*/ 776 w 806"/>
                <a:gd name="T61" fmla="*/ 557 h 806"/>
                <a:gd name="T62" fmla="*/ 733 w 806"/>
                <a:gd name="T63" fmla="*/ 470 h 806"/>
                <a:gd name="T64" fmla="*/ 170 w 806"/>
                <a:gd name="T65" fmla="*/ 517 h 806"/>
                <a:gd name="T66" fmla="*/ 636 w 806"/>
                <a:gd name="T67" fmla="*/ 289 h 806"/>
                <a:gd name="T68" fmla="*/ 170 w 806"/>
                <a:gd name="T69" fmla="*/ 517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6" h="806">
                  <a:moveTo>
                    <a:pt x="740" y="423"/>
                  </a:moveTo>
                  <a:cubicBezTo>
                    <a:pt x="806" y="401"/>
                    <a:pt x="806" y="401"/>
                    <a:pt x="806" y="401"/>
                  </a:cubicBezTo>
                  <a:cubicBezTo>
                    <a:pt x="803" y="349"/>
                    <a:pt x="803" y="349"/>
                    <a:pt x="803" y="349"/>
                  </a:cubicBezTo>
                  <a:cubicBezTo>
                    <a:pt x="733" y="336"/>
                    <a:pt x="733" y="336"/>
                    <a:pt x="733" y="336"/>
                  </a:cubicBezTo>
                  <a:cubicBezTo>
                    <a:pt x="731" y="322"/>
                    <a:pt x="727" y="309"/>
                    <a:pt x="722" y="295"/>
                  </a:cubicBezTo>
                  <a:cubicBezTo>
                    <a:pt x="776" y="248"/>
                    <a:pt x="776" y="248"/>
                    <a:pt x="776" y="248"/>
                  </a:cubicBezTo>
                  <a:cubicBezTo>
                    <a:pt x="754" y="202"/>
                    <a:pt x="754" y="202"/>
                    <a:pt x="754" y="202"/>
                  </a:cubicBezTo>
                  <a:cubicBezTo>
                    <a:pt x="684" y="217"/>
                    <a:pt x="684" y="217"/>
                    <a:pt x="684" y="217"/>
                  </a:cubicBezTo>
                  <a:cubicBezTo>
                    <a:pt x="675" y="204"/>
                    <a:pt x="666" y="191"/>
                    <a:pt x="655" y="179"/>
                  </a:cubicBezTo>
                  <a:cubicBezTo>
                    <a:pt x="687" y="116"/>
                    <a:pt x="687" y="116"/>
                    <a:pt x="687" y="116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590" y="122"/>
                    <a:pt x="590" y="122"/>
                    <a:pt x="590" y="122"/>
                  </a:cubicBezTo>
                  <a:cubicBezTo>
                    <a:pt x="578" y="114"/>
                    <a:pt x="565" y="107"/>
                    <a:pt x="552" y="101"/>
                  </a:cubicBezTo>
                  <a:cubicBezTo>
                    <a:pt x="558" y="30"/>
                    <a:pt x="558" y="30"/>
                    <a:pt x="558" y="30"/>
                  </a:cubicBezTo>
                  <a:cubicBezTo>
                    <a:pt x="509" y="14"/>
                    <a:pt x="509" y="14"/>
                    <a:pt x="509" y="14"/>
                  </a:cubicBezTo>
                  <a:cubicBezTo>
                    <a:pt x="470" y="73"/>
                    <a:pt x="470" y="73"/>
                    <a:pt x="470" y="73"/>
                  </a:cubicBezTo>
                  <a:cubicBezTo>
                    <a:pt x="455" y="70"/>
                    <a:pt x="439" y="68"/>
                    <a:pt x="423" y="67"/>
                  </a:cubicBezTo>
                  <a:cubicBezTo>
                    <a:pt x="401" y="0"/>
                    <a:pt x="401" y="0"/>
                    <a:pt x="401" y="0"/>
                  </a:cubicBezTo>
                  <a:cubicBezTo>
                    <a:pt x="350" y="3"/>
                    <a:pt x="350" y="3"/>
                    <a:pt x="350" y="3"/>
                  </a:cubicBezTo>
                  <a:cubicBezTo>
                    <a:pt x="337" y="73"/>
                    <a:pt x="337" y="73"/>
                    <a:pt x="337" y="73"/>
                  </a:cubicBezTo>
                  <a:cubicBezTo>
                    <a:pt x="323" y="75"/>
                    <a:pt x="309" y="79"/>
                    <a:pt x="295" y="84"/>
                  </a:cubicBezTo>
                  <a:cubicBezTo>
                    <a:pt x="249" y="30"/>
                    <a:pt x="249" y="30"/>
                    <a:pt x="249" y="30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04" y="131"/>
                    <a:pt x="191" y="140"/>
                    <a:pt x="179" y="151"/>
                  </a:cubicBezTo>
                  <a:cubicBezTo>
                    <a:pt x="116" y="120"/>
                    <a:pt x="116" y="120"/>
                    <a:pt x="116" y="120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123" y="216"/>
                    <a:pt x="123" y="216"/>
                    <a:pt x="123" y="216"/>
                  </a:cubicBezTo>
                  <a:cubicBezTo>
                    <a:pt x="115" y="228"/>
                    <a:pt x="107" y="241"/>
                    <a:pt x="101" y="254"/>
                  </a:cubicBezTo>
                  <a:cubicBezTo>
                    <a:pt x="31" y="248"/>
                    <a:pt x="31" y="248"/>
                    <a:pt x="31" y="248"/>
                  </a:cubicBezTo>
                  <a:cubicBezTo>
                    <a:pt x="14" y="297"/>
                    <a:pt x="14" y="297"/>
                    <a:pt x="14" y="297"/>
                  </a:cubicBezTo>
                  <a:cubicBezTo>
                    <a:pt x="73" y="336"/>
                    <a:pt x="73" y="336"/>
                    <a:pt x="73" y="336"/>
                  </a:cubicBezTo>
                  <a:cubicBezTo>
                    <a:pt x="70" y="351"/>
                    <a:pt x="68" y="367"/>
                    <a:pt x="67" y="383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4" y="456"/>
                    <a:pt x="4" y="456"/>
                    <a:pt x="4" y="456"/>
                  </a:cubicBezTo>
                  <a:cubicBezTo>
                    <a:pt x="73" y="469"/>
                    <a:pt x="73" y="469"/>
                    <a:pt x="73" y="469"/>
                  </a:cubicBezTo>
                  <a:cubicBezTo>
                    <a:pt x="76" y="483"/>
                    <a:pt x="79" y="497"/>
                    <a:pt x="84" y="511"/>
                  </a:cubicBezTo>
                  <a:cubicBezTo>
                    <a:pt x="30" y="557"/>
                    <a:pt x="30" y="557"/>
                    <a:pt x="30" y="557"/>
                  </a:cubicBezTo>
                  <a:cubicBezTo>
                    <a:pt x="52" y="603"/>
                    <a:pt x="52" y="603"/>
                    <a:pt x="52" y="603"/>
                  </a:cubicBezTo>
                  <a:cubicBezTo>
                    <a:pt x="122" y="589"/>
                    <a:pt x="122" y="589"/>
                    <a:pt x="122" y="589"/>
                  </a:cubicBezTo>
                  <a:cubicBezTo>
                    <a:pt x="131" y="602"/>
                    <a:pt x="141" y="615"/>
                    <a:pt x="151" y="627"/>
                  </a:cubicBezTo>
                  <a:cubicBezTo>
                    <a:pt x="120" y="690"/>
                    <a:pt x="120" y="690"/>
                    <a:pt x="120" y="690"/>
                  </a:cubicBezTo>
                  <a:cubicBezTo>
                    <a:pt x="158" y="723"/>
                    <a:pt x="158" y="723"/>
                    <a:pt x="158" y="723"/>
                  </a:cubicBezTo>
                  <a:cubicBezTo>
                    <a:pt x="217" y="684"/>
                    <a:pt x="217" y="684"/>
                    <a:pt x="217" y="684"/>
                  </a:cubicBezTo>
                  <a:cubicBezTo>
                    <a:pt x="229" y="692"/>
                    <a:pt x="241" y="699"/>
                    <a:pt x="254" y="705"/>
                  </a:cubicBezTo>
                  <a:cubicBezTo>
                    <a:pt x="249" y="775"/>
                    <a:pt x="249" y="775"/>
                    <a:pt x="249" y="775"/>
                  </a:cubicBezTo>
                  <a:cubicBezTo>
                    <a:pt x="297" y="792"/>
                    <a:pt x="297" y="792"/>
                    <a:pt x="297" y="792"/>
                  </a:cubicBezTo>
                  <a:cubicBezTo>
                    <a:pt x="336" y="733"/>
                    <a:pt x="336" y="733"/>
                    <a:pt x="336" y="733"/>
                  </a:cubicBezTo>
                  <a:cubicBezTo>
                    <a:pt x="352" y="736"/>
                    <a:pt x="367" y="738"/>
                    <a:pt x="383" y="739"/>
                  </a:cubicBezTo>
                  <a:cubicBezTo>
                    <a:pt x="406" y="806"/>
                    <a:pt x="406" y="806"/>
                    <a:pt x="406" y="806"/>
                  </a:cubicBezTo>
                  <a:cubicBezTo>
                    <a:pt x="457" y="803"/>
                    <a:pt x="457" y="803"/>
                    <a:pt x="457" y="803"/>
                  </a:cubicBezTo>
                  <a:cubicBezTo>
                    <a:pt x="470" y="733"/>
                    <a:pt x="470" y="733"/>
                    <a:pt x="470" y="733"/>
                  </a:cubicBezTo>
                  <a:cubicBezTo>
                    <a:pt x="484" y="730"/>
                    <a:pt x="498" y="727"/>
                    <a:pt x="511" y="722"/>
                  </a:cubicBezTo>
                  <a:cubicBezTo>
                    <a:pt x="558" y="776"/>
                    <a:pt x="558" y="776"/>
                    <a:pt x="558" y="776"/>
                  </a:cubicBezTo>
                  <a:cubicBezTo>
                    <a:pt x="604" y="754"/>
                    <a:pt x="604" y="754"/>
                    <a:pt x="604" y="754"/>
                  </a:cubicBezTo>
                  <a:cubicBezTo>
                    <a:pt x="589" y="684"/>
                    <a:pt x="589" y="684"/>
                    <a:pt x="589" y="684"/>
                  </a:cubicBezTo>
                  <a:cubicBezTo>
                    <a:pt x="603" y="675"/>
                    <a:pt x="615" y="665"/>
                    <a:pt x="627" y="655"/>
                  </a:cubicBezTo>
                  <a:cubicBezTo>
                    <a:pt x="690" y="686"/>
                    <a:pt x="690" y="686"/>
                    <a:pt x="690" y="686"/>
                  </a:cubicBezTo>
                  <a:cubicBezTo>
                    <a:pt x="724" y="648"/>
                    <a:pt x="724" y="648"/>
                    <a:pt x="724" y="648"/>
                  </a:cubicBezTo>
                  <a:cubicBezTo>
                    <a:pt x="684" y="589"/>
                    <a:pt x="684" y="589"/>
                    <a:pt x="684" y="589"/>
                  </a:cubicBezTo>
                  <a:cubicBezTo>
                    <a:pt x="692" y="577"/>
                    <a:pt x="699" y="565"/>
                    <a:pt x="705" y="552"/>
                  </a:cubicBezTo>
                  <a:cubicBezTo>
                    <a:pt x="776" y="557"/>
                    <a:pt x="776" y="557"/>
                    <a:pt x="776" y="557"/>
                  </a:cubicBezTo>
                  <a:cubicBezTo>
                    <a:pt x="792" y="509"/>
                    <a:pt x="792" y="509"/>
                    <a:pt x="792" y="509"/>
                  </a:cubicBezTo>
                  <a:cubicBezTo>
                    <a:pt x="733" y="470"/>
                    <a:pt x="733" y="470"/>
                    <a:pt x="733" y="470"/>
                  </a:cubicBezTo>
                  <a:cubicBezTo>
                    <a:pt x="736" y="455"/>
                    <a:pt x="739" y="439"/>
                    <a:pt x="740" y="423"/>
                  </a:cubicBezTo>
                  <a:close/>
                  <a:moveTo>
                    <a:pt x="170" y="517"/>
                  </a:moveTo>
                  <a:cubicBezTo>
                    <a:pt x="107" y="388"/>
                    <a:pt x="161" y="233"/>
                    <a:pt x="289" y="170"/>
                  </a:cubicBezTo>
                  <a:cubicBezTo>
                    <a:pt x="418" y="107"/>
                    <a:pt x="573" y="160"/>
                    <a:pt x="636" y="289"/>
                  </a:cubicBezTo>
                  <a:cubicBezTo>
                    <a:pt x="699" y="417"/>
                    <a:pt x="646" y="573"/>
                    <a:pt x="517" y="636"/>
                  </a:cubicBezTo>
                  <a:cubicBezTo>
                    <a:pt x="389" y="699"/>
                    <a:pt x="233" y="646"/>
                    <a:pt x="170" y="51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th-TH" sz="675"/>
            </a:p>
          </p:txBody>
        </p: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5EE07C41-534F-A7EA-3458-4CBF3F89A907}"/>
                </a:ext>
              </a:extLst>
            </p:cNvPr>
            <p:cNvGrpSpPr/>
            <p:nvPr/>
          </p:nvGrpSpPr>
          <p:grpSpPr>
            <a:xfrm>
              <a:off x="3924300" y="4136075"/>
              <a:ext cx="829037" cy="803298"/>
              <a:chOff x="4047514" y="3979392"/>
              <a:chExt cx="570607" cy="587746"/>
            </a:xfrm>
          </p:grpSpPr>
          <p:grpSp>
            <p:nvGrpSpPr>
              <p:cNvPr id="37" name="Group 191">
                <a:extLst>
                  <a:ext uri="{FF2B5EF4-FFF2-40B4-BE49-F238E27FC236}">
                    <a16:creationId xmlns:a16="http://schemas.microsoft.com/office/drawing/2014/main" id="{57154BA7-DA72-D326-26C4-A02066846C25}"/>
                  </a:ext>
                </a:extLst>
              </p:cNvPr>
              <p:cNvGrpSpPr/>
              <p:nvPr/>
            </p:nvGrpSpPr>
            <p:grpSpPr>
              <a:xfrm>
                <a:off x="4047514" y="3979392"/>
                <a:ext cx="570607" cy="587746"/>
                <a:chOff x="1231624" y="2000486"/>
                <a:chExt cx="707264" cy="707264"/>
              </a:xfrm>
            </p:grpSpPr>
            <p:sp>
              <p:nvSpPr>
                <p:cNvPr id="38" name="Oval 4">
                  <a:extLst>
                    <a:ext uri="{FF2B5EF4-FFF2-40B4-BE49-F238E27FC236}">
                      <a16:creationId xmlns:a16="http://schemas.microsoft.com/office/drawing/2014/main" id="{E86CD68F-39BA-3407-A548-58F9F507637A}"/>
                    </a:ext>
                  </a:extLst>
                </p:cNvPr>
                <p:cNvSpPr/>
                <p:nvPr/>
              </p:nvSpPr>
              <p:spPr bwMode="auto">
                <a:xfrm>
                  <a:off x="1231624" y="2000486"/>
                  <a:ext cx="707264" cy="707264"/>
                </a:xfrm>
                <a:prstGeom prst="ellipse">
                  <a:avLst/>
                </a:prstGeom>
                <a:solidFill>
                  <a:schemeClr val="accent1"/>
                </a:solidFill>
                <a:ln w="28575">
                  <a:noFill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Oval 12">
                  <a:extLst>
                    <a:ext uri="{FF2B5EF4-FFF2-40B4-BE49-F238E27FC236}">
                      <a16:creationId xmlns:a16="http://schemas.microsoft.com/office/drawing/2014/main" id="{61B2A295-AF26-E65D-B158-F28FDF430765}"/>
                    </a:ext>
                  </a:extLst>
                </p:cNvPr>
                <p:cNvSpPr/>
                <p:nvPr/>
              </p:nvSpPr>
              <p:spPr bwMode="auto">
                <a:xfrm>
                  <a:off x="1303617" y="2072479"/>
                  <a:ext cx="563279" cy="563279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noFill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40" name="Group 199">
                <a:extLst>
                  <a:ext uri="{FF2B5EF4-FFF2-40B4-BE49-F238E27FC236}">
                    <a16:creationId xmlns:a16="http://schemas.microsoft.com/office/drawing/2014/main" id="{7CF4C9B5-965F-1A13-BD90-BF6275D7166C}"/>
                  </a:ext>
                </a:extLst>
              </p:cNvPr>
              <p:cNvGrpSpPr/>
              <p:nvPr/>
            </p:nvGrpSpPr>
            <p:grpSpPr>
              <a:xfrm>
                <a:off x="4197058" y="4135889"/>
                <a:ext cx="267630" cy="261156"/>
                <a:chOff x="2700338" y="1873249"/>
                <a:chExt cx="271463" cy="257175"/>
              </a:xfrm>
              <a:solidFill>
                <a:schemeClr val="accent1"/>
              </a:solidFill>
            </p:grpSpPr>
            <p:sp>
              <p:nvSpPr>
                <p:cNvPr id="41" name="Freeform 159">
                  <a:extLst>
                    <a:ext uri="{FF2B5EF4-FFF2-40B4-BE49-F238E27FC236}">
                      <a16:creationId xmlns:a16="http://schemas.microsoft.com/office/drawing/2014/main" id="{E35E9632-82B4-C1C6-1F9E-858A4B4907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0338" y="1873249"/>
                  <a:ext cx="271463" cy="257175"/>
                </a:xfrm>
                <a:custGeom>
                  <a:avLst/>
                  <a:gdLst/>
                  <a:ahLst/>
                  <a:cxnLst>
                    <a:cxn ang="0">
                      <a:pos x="118" y="108"/>
                    </a:cxn>
                    <a:cxn ang="0">
                      <a:pos x="114" y="112"/>
                    </a:cxn>
                    <a:cxn ang="0">
                      <a:pos x="5" y="112"/>
                    </a:cxn>
                    <a:cxn ang="0">
                      <a:pos x="0" y="106"/>
                    </a:cxn>
                    <a:cxn ang="0">
                      <a:pos x="0" y="4"/>
                    </a:cxn>
                    <a:cxn ang="0">
                      <a:pos x="4" y="0"/>
                    </a:cxn>
                    <a:cxn ang="0">
                      <a:pos x="9" y="4"/>
                    </a:cxn>
                    <a:cxn ang="0">
                      <a:pos x="9" y="98"/>
                    </a:cxn>
                    <a:cxn ang="0">
                      <a:pos x="14" y="103"/>
                    </a:cxn>
                    <a:cxn ang="0">
                      <a:pos x="114" y="103"/>
                    </a:cxn>
                    <a:cxn ang="0">
                      <a:pos x="118" y="108"/>
                    </a:cxn>
                  </a:cxnLst>
                  <a:rect l="0" t="0" r="r" b="b"/>
                  <a:pathLst>
                    <a:path w="118" h="112">
                      <a:moveTo>
                        <a:pt x="118" y="108"/>
                      </a:moveTo>
                      <a:cubicBezTo>
                        <a:pt x="118" y="110"/>
                        <a:pt x="117" y="112"/>
                        <a:pt x="114" y="112"/>
                      </a:cubicBezTo>
                      <a:cubicBezTo>
                        <a:pt x="5" y="112"/>
                        <a:pt x="5" y="112"/>
                        <a:pt x="5" y="112"/>
                      </a:cubicBezTo>
                      <a:cubicBezTo>
                        <a:pt x="2" y="112"/>
                        <a:pt x="0" y="110"/>
                        <a:pt x="0" y="106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1"/>
                        <a:pt x="2" y="0"/>
                        <a:pt x="4" y="0"/>
                      </a:cubicBezTo>
                      <a:cubicBezTo>
                        <a:pt x="7" y="0"/>
                        <a:pt x="9" y="1"/>
                        <a:pt x="9" y="4"/>
                      </a:cubicBezTo>
                      <a:cubicBezTo>
                        <a:pt x="9" y="98"/>
                        <a:pt x="9" y="98"/>
                        <a:pt x="9" y="98"/>
                      </a:cubicBezTo>
                      <a:cubicBezTo>
                        <a:pt x="9" y="101"/>
                        <a:pt x="11" y="103"/>
                        <a:pt x="14" y="103"/>
                      </a:cubicBezTo>
                      <a:cubicBezTo>
                        <a:pt x="114" y="103"/>
                        <a:pt x="114" y="103"/>
                        <a:pt x="114" y="103"/>
                      </a:cubicBezTo>
                      <a:cubicBezTo>
                        <a:pt x="117" y="103"/>
                        <a:pt x="118" y="105"/>
                        <a:pt x="118" y="108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" name="Freeform 160">
                  <a:extLst>
                    <a:ext uri="{FF2B5EF4-FFF2-40B4-BE49-F238E27FC236}">
                      <a16:creationId xmlns:a16="http://schemas.microsoft.com/office/drawing/2014/main" id="{CB9F516A-F795-62E7-2A2D-3D7DF7F17C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0026" y="1898649"/>
                  <a:ext cx="212725" cy="179388"/>
                </a:xfrm>
                <a:custGeom>
                  <a:avLst/>
                  <a:gdLst/>
                  <a:ahLst/>
                  <a:cxnLst>
                    <a:cxn ang="0">
                      <a:pos x="91" y="27"/>
                    </a:cxn>
                    <a:cxn ang="0">
                      <a:pos x="93" y="26"/>
                    </a:cxn>
                    <a:cxn ang="0">
                      <a:pos x="90" y="2"/>
                    </a:cxn>
                    <a:cxn ang="0">
                      <a:pos x="88" y="0"/>
                    </a:cxn>
                    <a:cxn ang="0">
                      <a:pos x="65" y="9"/>
                    </a:cxn>
                    <a:cxn ang="0">
                      <a:pos x="65" y="11"/>
                    </a:cxn>
                    <a:cxn ang="0">
                      <a:pos x="69" y="14"/>
                    </a:cxn>
                    <a:cxn ang="0">
                      <a:pos x="70" y="17"/>
                    </a:cxn>
                    <a:cxn ang="0">
                      <a:pos x="53" y="43"/>
                    </a:cxn>
                    <a:cxn ang="0">
                      <a:pos x="49" y="44"/>
                    </a:cxn>
                    <a:cxn ang="0">
                      <a:pos x="23" y="34"/>
                    </a:cxn>
                    <a:cxn ang="0">
                      <a:pos x="19" y="36"/>
                    </a:cxn>
                    <a:cxn ang="0">
                      <a:pos x="2" y="55"/>
                    </a:cxn>
                    <a:cxn ang="0">
                      <a:pos x="0" y="60"/>
                    </a:cxn>
                    <a:cxn ang="0">
                      <a:pos x="0" y="77"/>
                    </a:cxn>
                    <a:cxn ang="0">
                      <a:pos x="2" y="77"/>
                    </a:cxn>
                    <a:cxn ang="0">
                      <a:pos x="23" y="53"/>
                    </a:cxn>
                    <a:cxn ang="0">
                      <a:pos x="28" y="52"/>
                    </a:cxn>
                    <a:cxn ang="0">
                      <a:pos x="54" y="62"/>
                    </a:cxn>
                    <a:cxn ang="0">
                      <a:pos x="58" y="60"/>
                    </a:cxn>
                    <a:cxn ang="0">
                      <a:pos x="82" y="25"/>
                    </a:cxn>
                    <a:cxn ang="0">
                      <a:pos x="86" y="24"/>
                    </a:cxn>
                    <a:cxn ang="0">
                      <a:pos x="91" y="27"/>
                    </a:cxn>
                  </a:cxnLst>
                  <a:rect l="0" t="0" r="r" b="b"/>
                  <a:pathLst>
                    <a:path w="93" h="78">
                      <a:moveTo>
                        <a:pt x="91" y="27"/>
                      </a:moveTo>
                      <a:cubicBezTo>
                        <a:pt x="92" y="28"/>
                        <a:pt x="93" y="27"/>
                        <a:pt x="93" y="26"/>
                      </a:cubicBezTo>
                      <a:cubicBezTo>
                        <a:pt x="90" y="2"/>
                        <a:pt x="90" y="2"/>
                        <a:pt x="90" y="2"/>
                      </a:cubicBezTo>
                      <a:cubicBezTo>
                        <a:pt x="90" y="1"/>
                        <a:pt x="89" y="0"/>
                        <a:pt x="88" y="0"/>
                      </a:cubicBezTo>
                      <a:cubicBezTo>
                        <a:pt x="65" y="9"/>
                        <a:pt x="65" y="9"/>
                        <a:pt x="65" y="9"/>
                      </a:cubicBezTo>
                      <a:cubicBezTo>
                        <a:pt x="64" y="9"/>
                        <a:pt x="64" y="10"/>
                        <a:pt x="65" y="11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71" y="14"/>
                        <a:pt x="71" y="16"/>
                        <a:pt x="70" y="17"/>
                      </a:cubicBezTo>
                      <a:cubicBezTo>
                        <a:pt x="53" y="43"/>
                        <a:pt x="53" y="43"/>
                        <a:pt x="53" y="43"/>
                      </a:cubicBezTo>
                      <a:cubicBezTo>
                        <a:pt x="52" y="44"/>
                        <a:pt x="51" y="45"/>
                        <a:pt x="49" y="44"/>
                      </a:cubicBezTo>
                      <a:cubicBezTo>
                        <a:pt x="23" y="34"/>
                        <a:pt x="23" y="34"/>
                        <a:pt x="23" y="34"/>
                      </a:cubicBezTo>
                      <a:cubicBezTo>
                        <a:pt x="22" y="34"/>
                        <a:pt x="20" y="34"/>
                        <a:pt x="19" y="36"/>
                      </a:cubicBezTo>
                      <a:cubicBezTo>
                        <a:pt x="2" y="55"/>
                        <a:pt x="2" y="55"/>
                        <a:pt x="2" y="55"/>
                      </a:cubicBezTo>
                      <a:cubicBezTo>
                        <a:pt x="1" y="57"/>
                        <a:pt x="0" y="59"/>
                        <a:pt x="0" y="60"/>
                      </a:cubicBezTo>
                      <a:cubicBezTo>
                        <a:pt x="0" y="77"/>
                        <a:pt x="0" y="77"/>
                        <a:pt x="0" y="77"/>
                      </a:cubicBezTo>
                      <a:cubicBezTo>
                        <a:pt x="0" y="78"/>
                        <a:pt x="1" y="78"/>
                        <a:pt x="2" y="77"/>
                      </a:cubicBezTo>
                      <a:cubicBezTo>
                        <a:pt x="23" y="53"/>
                        <a:pt x="23" y="53"/>
                        <a:pt x="23" y="53"/>
                      </a:cubicBezTo>
                      <a:cubicBezTo>
                        <a:pt x="24" y="51"/>
                        <a:pt x="26" y="51"/>
                        <a:pt x="28" y="52"/>
                      </a:cubicBezTo>
                      <a:cubicBezTo>
                        <a:pt x="54" y="62"/>
                        <a:pt x="54" y="62"/>
                        <a:pt x="54" y="62"/>
                      </a:cubicBezTo>
                      <a:cubicBezTo>
                        <a:pt x="55" y="62"/>
                        <a:pt x="57" y="61"/>
                        <a:pt x="58" y="60"/>
                      </a:cubicBezTo>
                      <a:cubicBezTo>
                        <a:pt x="82" y="25"/>
                        <a:pt x="82" y="25"/>
                        <a:pt x="82" y="25"/>
                      </a:cubicBezTo>
                      <a:cubicBezTo>
                        <a:pt x="83" y="24"/>
                        <a:pt x="84" y="23"/>
                        <a:pt x="86" y="24"/>
                      </a:cubicBezTo>
                      <a:lnTo>
                        <a:pt x="91" y="2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982547E4-47EA-9166-E20F-6F8E4D1F5D6E}"/>
              </a:ext>
            </a:extLst>
          </p:cNvPr>
          <p:cNvGrpSpPr/>
          <p:nvPr/>
        </p:nvGrpSpPr>
        <p:grpSpPr>
          <a:xfrm>
            <a:off x="4942914" y="2495057"/>
            <a:ext cx="2392193" cy="2377732"/>
            <a:chOff x="4942914" y="2256932"/>
            <a:chExt cx="2392193" cy="2377732"/>
          </a:xfrm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AB9EF5E8-4510-3E3C-04F3-8090E8CC8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2914" y="2256932"/>
              <a:ext cx="2392193" cy="2377732"/>
            </a:xfrm>
            <a:custGeom>
              <a:avLst/>
              <a:gdLst>
                <a:gd name="T0" fmla="*/ 806 w 806"/>
                <a:gd name="T1" fmla="*/ 401 h 806"/>
                <a:gd name="T2" fmla="*/ 733 w 806"/>
                <a:gd name="T3" fmla="*/ 336 h 806"/>
                <a:gd name="T4" fmla="*/ 776 w 806"/>
                <a:gd name="T5" fmla="*/ 248 h 806"/>
                <a:gd name="T6" fmla="*/ 684 w 806"/>
                <a:gd name="T7" fmla="*/ 217 h 806"/>
                <a:gd name="T8" fmla="*/ 687 w 806"/>
                <a:gd name="T9" fmla="*/ 116 h 806"/>
                <a:gd name="T10" fmla="*/ 590 w 806"/>
                <a:gd name="T11" fmla="*/ 122 h 806"/>
                <a:gd name="T12" fmla="*/ 558 w 806"/>
                <a:gd name="T13" fmla="*/ 30 h 806"/>
                <a:gd name="T14" fmla="*/ 470 w 806"/>
                <a:gd name="T15" fmla="*/ 73 h 806"/>
                <a:gd name="T16" fmla="*/ 401 w 806"/>
                <a:gd name="T17" fmla="*/ 0 h 806"/>
                <a:gd name="T18" fmla="*/ 337 w 806"/>
                <a:gd name="T19" fmla="*/ 73 h 806"/>
                <a:gd name="T20" fmla="*/ 249 w 806"/>
                <a:gd name="T21" fmla="*/ 30 h 806"/>
                <a:gd name="T22" fmla="*/ 217 w 806"/>
                <a:gd name="T23" fmla="*/ 122 h 806"/>
                <a:gd name="T24" fmla="*/ 116 w 806"/>
                <a:gd name="T25" fmla="*/ 120 h 806"/>
                <a:gd name="T26" fmla="*/ 123 w 806"/>
                <a:gd name="T27" fmla="*/ 216 h 806"/>
                <a:gd name="T28" fmla="*/ 31 w 806"/>
                <a:gd name="T29" fmla="*/ 248 h 806"/>
                <a:gd name="T30" fmla="*/ 73 w 806"/>
                <a:gd name="T31" fmla="*/ 336 h 806"/>
                <a:gd name="T32" fmla="*/ 0 w 806"/>
                <a:gd name="T33" fmla="*/ 405 h 806"/>
                <a:gd name="T34" fmla="*/ 73 w 806"/>
                <a:gd name="T35" fmla="*/ 469 h 806"/>
                <a:gd name="T36" fmla="*/ 30 w 806"/>
                <a:gd name="T37" fmla="*/ 557 h 806"/>
                <a:gd name="T38" fmla="*/ 122 w 806"/>
                <a:gd name="T39" fmla="*/ 589 h 806"/>
                <a:gd name="T40" fmla="*/ 120 w 806"/>
                <a:gd name="T41" fmla="*/ 690 h 806"/>
                <a:gd name="T42" fmla="*/ 217 w 806"/>
                <a:gd name="T43" fmla="*/ 684 h 806"/>
                <a:gd name="T44" fmla="*/ 249 w 806"/>
                <a:gd name="T45" fmla="*/ 775 h 806"/>
                <a:gd name="T46" fmla="*/ 336 w 806"/>
                <a:gd name="T47" fmla="*/ 733 h 806"/>
                <a:gd name="T48" fmla="*/ 406 w 806"/>
                <a:gd name="T49" fmla="*/ 806 h 806"/>
                <a:gd name="T50" fmla="*/ 470 w 806"/>
                <a:gd name="T51" fmla="*/ 733 h 806"/>
                <a:gd name="T52" fmla="*/ 558 w 806"/>
                <a:gd name="T53" fmla="*/ 776 h 806"/>
                <a:gd name="T54" fmla="*/ 589 w 806"/>
                <a:gd name="T55" fmla="*/ 684 h 806"/>
                <a:gd name="T56" fmla="*/ 690 w 806"/>
                <a:gd name="T57" fmla="*/ 686 h 806"/>
                <a:gd name="T58" fmla="*/ 684 w 806"/>
                <a:gd name="T59" fmla="*/ 589 h 806"/>
                <a:gd name="T60" fmla="*/ 776 w 806"/>
                <a:gd name="T61" fmla="*/ 557 h 806"/>
                <a:gd name="T62" fmla="*/ 733 w 806"/>
                <a:gd name="T63" fmla="*/ 470 h 806"/>
                <a:gd name="T64" fmla="*/ 170 w 806"/>
                <a:gd name="T65" fmla="*/ 517 h 806"/>
                <a:gd name="T66" fmla="*/ 636 w 806"/>
                <a:gd name="T67" fmla="*/ 289 h 806"/>
                <a:gd name="T68" fmla="*/ 170 w 806"/>
                <a:gd name="T69" fmla="*/ 517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6" h="806">
                  <a:moveTo>
                    <a:pt x="740" y="423"/>
                  </a:moveTo>
                  <a:cubicBezTo>
                    <a:pt x="806" y="401"/>
                    <a:pt x="806" y="401"/>
                    <a:pt x="806" y="401"/>
                  </a:cubicBezTo>
                  <a:cubicBezTo>
                    <a:pt x="803" y="349"/>
                    <a:pt x="803" y="349"/>
                    <a:pt x="803" y="349"/>
                  </a:cubicBezTo>
                  <a:cubicBezTo>
                    <a:pt x="733" y="336"/>
                    <a:pt x="733" y="336"/>
                    <a:pt x="733" y="336"/>
                  </a:cubicBezTo>
                  <a:cubicBezTo>
                    <a:pt x="731" y="322"/>
                    <a:pt x="727" y="309"/>
                    <a:pt x="722" y="295"/>
                  </a:cubicBezTo>
                  <a:cubicBezTo>
                    <a:pt x="776" y="248"/>
                    <a:pt x="776" y="248"/>
                    <a:pt x="776" y="248"/>
                  </a:cubicBezTo>
                  <a:cubicBezTo>
                    <a:pt x="754" y="202"/>
                    <a:pt x="754" y="202"/>
                    <a:pt x="754" y="202"/>
                  </a:cubicBezTo>
                  <a:cubicBezTo>
                    <a:pt x="684" y="217"/>
                    <a:pt x="684" y="217"/>
                    <a:pt x="684" y="217"/>
                  </a:cubicBezTo>
                  <a:cubicBezTo>
                    <a:pt x="675" y="204"/>
                    <a:pt x="666" y="191"/>
                    <a:pt x="655" y="179"/>
                  </a:cubicBezTo>
                  <a:cubicBezTo>
                    <a:pt x="687" y="116"/>
                    <a:pt x="687" y="116"/>
                    <a:pt x="687" y="116"/>
                  </a:cubicBezTo>
                  <a:cubicBezTo>
                    <a:pt x="648" y="82"/>
                    <a:pt x="648" y="82"/>
                    <a:pt x="648" y="82"/>
                  </a:cubicBezTo>
                  <a:cubicBezTo>
                    <a:pt x="590" y="122"/>
                    <a:pt x="590" y="122"/>
                    <a:pt x="590" y="122"/>
                  </a:cubicBezTo>
                  <a:cubicBezTo>
                    <a:pt x="578" y="114"/>
                    <a:pt x="565" y="107"/>
                    <a:pt x="552" y="101"/>
                  </a:cubicBezTo>
                  <a:cubicBezTo>
                    <a:pt x="558" y="30"/>
                    <a:pt x="558" y="30"/>
                    <a:pt x="558" y="30"/>
                  </a:cubicBezTo>
                  <a:cubicBezTo>
                    <a:pt x="509" y="14"/>
                    <a:pt x="509" y="14"/>
                    <a:pt x="509" y="14"/>
                  </a:cubicBezTo>
                  <a:cubicBezTo>
                    <a:pt x="470" y="73"/>
                    <a:pt x="470" y="73"/>
                    <a:pt x="470" y="73"/>
                  </a:cubicBezTo>
                  <a:cubicBezTo>
                    <a:pt x="455" y="70"/>
                    <a:pt x="439" y="68"/>
                    <a:pt x="423" y="67"/>
                  </a:cubicBezTo>
                  <a:cubicBezTo>
                    <a:pt x="401" y="0"/>
                    <a:pt x="401" y="0"/>
                    <a:pt x="401" y="0"/>
                  </a:cubicBezTo>
                  <a:cubicBezTo>
                    <a:pt x="350" y="3"/>
                    <a:pt x="350" y="3"/>
                    <a:pt x="350" y="3"/>
                  </a:cubicBezTo>
                  <a:cubicBezTo>
                    <a:pt x="337" y="73"/>
                    <a:pt x="337" y="73"/>
                    <a:pt x="337" y="73"/>
                  </a:cubicBezTo>
                  <a:cubicBezTo>
                    <a:pt x="323" y="75"/>
                    <a:pt x="309" y="79"/>
                    <a:pt x="295" y="84"/>
                  </a:cubicBezTo>
                  <a:cubicBezTo>
                    <a:pt x="249" y="30"/>
                    <a:pt x="249" y="30"/>
                    <a:pt x="249" y="30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04" y="131"/>
                    <a:pt x="191" y="140"/>
                    <a:pt x="179" y="151"/>
                  </a:cubicBezTo>
                  <a:cubicBezTo>
                    <a:pt x="116" y="120"/>
                    <a:pt x="116" y="120"/>
                    <a:pt x="116" y="120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123" y="216"/>
                    <a:pt x="123" y="216"/>
                    <a:pt x="123" y="216"/>
                  </a:cubicBezTo>
                  <a:cubicBezTo>
                    <a:pt x="115" y="228"/>
                    <a:pt x="107" y="241"/>
                    <a:pt x="101" y="254"/>
                  </a:cubicBezTo>
                  <a:cubicBezTo>
                    <a:pt x="31" y="248"/>
                    <a:pt x="31" y="248"/>
                    <a:pt x="31" y="248"/>
                  </a:cubicBezTo>
                  <a:cubicBezTo>
                    <a:pt x="14" y="297"/>
                    <a:pt x="14" y="297"/>
                    <a:pt x="14" y="297"/>
                  </a:cubicBezTo>
                  <a:cubicBezTo>
                    <a:pt x="73" y="336"/>
                    <a:pt x="73" y="336"/>
                    <a:pt x="73" y="336"/>
                  </a:cubicBezTo>
                  <a:cubicBezTo>
                    <a:pt x="70" y="351"/>
                    <a:pt x="68" y="367"/>
                    <a:pt x="67" y="383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4" y="456"/>
                    <a:pt x="4" y="456"/>
                    <a:pt x="4" y="456"/>
                  </a:cubicBezTo>
                  <a:cubicBezTo>
                    <a:pt x="73" y="469"/>
                    <a:pt x="73" y="469"/>
                    <a:pt x="73" y="469"/>
                  </a:cubicBezTo>
                  <a:cubicBezTo>
                    <a:pt x="76" y="483"/>
                    <a:pt x="79" y="497"/>
                    <a:pt x="84" y="511"/>
                  </a:cubicBezTo>
                  <a:cubicBezTo>
                    <a:pt x="30" y="557"/>
                    <a:pt x="30" y="557"/>
                    <a:pt x="30" y="557"/>
                  </a:cubicBezTo>
                  <a:cubicBezTo>
                    <a:pt x="52" y="603"/>
                    <a:pt x="52" y="603"/>
                    <a:pt x="52" y="603"/>
                  </a:cubicBezTo>
                  <a:cubicBezTo>
                    <a:pt x="122" y="589"/>
                    <a:pt x="122" y="589"/>
                    <a:pt x="122" y="589"/>
                  </a:cubicBezTo>
                  <a:cubicBezTo>
                    <a:pt x="131" y="602"/>
                    <a:pt x="141" y="615"/>
                    <a:pt x="151" y="627"/>
                  </a:cubicBezTo>
                  <a:cubicBezTo>
                    <a:pt x="120" y="690"/>
                    <a:pt x="120" y="690"/>
                    <a:pt x="120" y="690"/>
                  </a:cubicBezTo>
                  <a:cubicBezTo>
                    <a:pt x="158" y="723"/>
                    <a:pt x="158" y="723"/>
                    <a:pt x="158" y="723"/>
                  </a:cubicBezTo>
                  <a:cubicBezTo>
                    <a:pt x="217" y="684"/>
                    <a:pt x="217" y="684"/>
                    <a:pt x="217" y="684"/>
                  </a:cubicBezTo>
                  <a:cubicBezTo>
                    <a:pt x="229" y="692"/>
                    <a:pt x="241" y="699"/>
                    <a:pt x="254" y="705"/>
                  </a:cubicBezTo>
                  <a:cubicBezTo>
                    <a:pt x="249" y="775"/>
                    <a:pt x="249" y="775"/>
                    <a:pt x="249" y="775"/>
                  </a:cubicBezTo>
                  <a:cubicBezTo>
                    <a:pt x="297" y="792"/>
                    <a:pt x="297" y="792"/>
                    <a:pt x="297" y="792"/>
                  </a:cubicBezTo>
                  <a:cubicBezTo>
                    <a:pt x="336" y="733"/>
                    <a:pt x="336" y="733"/>
                    <a:pt x="336" y="733"/>
                  </a:cubicBezTo>
                  <a:cubicBezTo>
                    <a:pt x="352" y="736"/>
                    <a:pt x="367" y="738"/>
                    <a:pt x="383" y="739"/>
                  </a:cubicBezTo>
                  <a:cubicBezTo>
                    <a:pt x="406" y="806"/>
                    <a:pt x="406" y="806"/>
                    <a:pt x="406" y="806"/>
                  </a:cubicBezTo>
                  <a:cubicBezTo>
                    <a:pt x="457" y="803"/>
                    <a:pt x="457" y="803"/>
                    <a:pt x="457" y="803"/>
                  </a:cubicBezTo>
                  <a:cubicBezTo>
                    <a:pt x="470" y="733"/>
                    <a:pt x="470" y="733"/>
                    <a:pt x="470" y="733"/>
                  </a:cubicBezTo>
                  <a:cubicBezTo>
                    <a:pt x="484" y="730"/>
                    <a:pt x="498" y="727"/>
                    <a:pt x="511" y="722"/>
                  </a:cubicBezTo>
                  <a:cubicBezTo>
                    <a:pt x="558" y="776"/>
                    <a:pt x="558" y="776"/>
                    <a:pt x="558" y="776"/>
                  </a:cubicBezTo>
                  <a:cubicBezTo>
                    <a:pt x="604" y="754"/>
                    <a:pt x="604" y="754"/>
                    <a:pt x="604" y="754"/>
                  </a:cubicBezTo>
                  <a:cubicBezTo>
                    <a:pt x="589" y="684"/>
                    <a:pt x="589" y="684"/>
                    <a:pt x="589" y="684"/>
                  </a:cubicBezTo>
                  <a:cubicBezTo>
                    <a:pt x="603" y="675"/>
                    <a:pt x="615" y="665"/>
                    <a:pt x="627" y="655"/>
                  </a:cubicBezTo>
                  <a:cubicBezTo>
                    <a:pt x="690" y="686"/>
                    <a:pt x="690" y="686"/>
                    <a:pt x="690" y="686"/>
                  </a:cubicBezTo>
                  <a:cubicBezTo>
                    <a:pt x="724" y="648"/>
                    <a:pt x="724" y="648"/>
                    <a:pt x="724" y="648"/>
                  </a:cubicBezTo>
                  <a:cubicBezTo>
                    <a:pt x="684" y="589"/>
                    <a:pt x="684" y="589"/>
                    <a:pt x="684" y="589"/>
                  </a:cubicBezTo>
                  <a:cubicBezTo>
                    <a:pt x="692" y="577"/>
                    <a:pt x="699" y="565"/>
                    <a:pt x="705" y="552"/>
                  </a:cubicBezTo>
                  <a:cubicBezTo>
                    <a:pt x="776" y="557"/>
                    <a:pt x="776" y="557"/>
                    <a:pt x="776" y="557"/>
                  </a:cubicBezTo>
                  <a:cubicBezTo>
                    <a:pt x="792" y="509"/>
                    <a:pt x="792" y="509"/>
                    <a:pt x="792" y="509"/>
                  </a:cubicBezTo>
                  <a:cubicBezTo>
                    <a:pt x="733" y="470"/>
                    <a:pt x="733" y="470"/>
                    <a:pt x="733" y="470"/>
                  </a:cubicBezTo>
                  <a:cubicBezTo>
                    <a:pt x="736" y="455"/>
                    <a:pt x="739" y="439"/>
                    <a:pt x="740" y="423"/>
                  </a:cubicBezTo>
                  <a:close/>
                  <a:moveTo>
                    <a:pt x="170" y="517"/>
                  </a:moveTo>
                  <a:cubicBezTo>
                    <a:pt x="107" y="388"/>
                    <a:pt x="161" y="233"/>
                    <a:pt x="289" y="170"/>
                  </a:cubicBezTo>
                  <a:cubicBezTo>
                    <a:pt x="418" y="107"/>
                    <a:pt x="573" y="160"/>
                    <a:pt x="636" y="289"/>
                  </a:cubicBezTo>
                  <a:cubicBezTo>
                    <a:pt x="699" y="417"/>
                    <a:pt x="646" y="573"/>
                    <a:pt x="517" y="636"/>
                  </a:cubicBezTo>
                  <a:cubicBezTo>
                    <a:pt x="389" y="699"/>
                    <a:pt x="233" y="646"/>
                    <a:pt x="170" y="5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th-TH" sz="675"/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18F40CF3-FFBD-F96A-3A21-6CF498938942}"/>
                </a:ext>
              </a:extLst>
            </p:cNvPr>
            <p:cNvGrpSpPr/>
            <p:nvPr/>
          </p:nvGrpSpPr>
          <p:grpSpPr>
            <a:xfrm>
              <a:off x="5451290" y="3151925"/>
              <a:ext cx="1289296" cy="596234"/>
              <a:chOff x="5463303" y="3143437"/>
              <a:chExt cx="1289296" cy="596234"/>
            </a:xfrm>
          </p:grpSpPr>
          <p:grpSp>
            <p:nvGrpSpPr>
              <p:cNvPr id="54" name="Gruppieren 53">
                <a:extLst>
                  <a:ext uri="{FF2B5EF4-FFF2-40B4-BE49-F238E27FC236}">
                    <a16:creationId xmlns:a16="http://schemas.microsoft.com/office/drawing/2014/main" id="{293A738B-7DA6-2004-E90B-47E09F604420}"/>
                  </a:ext>
                </a:extLst>
              </p:cNvPr>
              <p:cNvGrpSpPr/>
              <p:nvPr/>
            </p:nvGrpSpPr>
            <p:grpSpPr>
              <a:xfrm>
                <a:off x="5463303" y="3151925"/>
                <a:ext cx="570607" cy="587746"/>
                <a:chOff x="4047514" y="3979392"/>
                <a:chExt cx="570607" cy="587746"/>
              </a:xfrm>
            </p:grpSpPr>
            <p:grpSp>
              <p:nvGrpSpPr>
                <p:cNvPr id="55" name="Group 191">
                  <a:extLst>
                    <a:ext uri="{FF2B5EF4-FFF2-40B4-BE49-F238E27FC236}">
                      <a16:creationId xmlns:a16="http://schemas.microsoft.com/office/drawing/2014/main" id="{9F68EE8D-3613-B8B1-FE0C-8132F4026F4B}"/>
                    </a:ext>
                  </a:extLst>
                </p:cNvPr>
                <p:cNvGrpSpPr/>
                <p:nvPr/>
              </p:nvGrpSpPr>
              <p:grpSpPr>
                <a:xfrm>
                  <a:off x="4047514" y="3979392"/>
                  <a:ext cx="570607" cy="587746"/>
                  <a:chOff x="1231624" y="2000486"/>
                  <a:chExt cx="707264" cy="707264"/>
                </a:xfrm>
              </p:grpSpPr>
              <p:sp>
                <p:nvSpPr>
                  <p:cNvPr id="59" name="Oval 4">
                    <a:extLst>
                      <a:ext uri="{FF2B5EF4-FFF2-40B4-BE49-F238E27FC236}">
                        <a16:creationId xmlns:a16="http://schemas.microsoft.com/office/drawing/2014/main" id="{A8579398-AD7B-A6B0-E5E4-B4E0B0F6595F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231624" y="2000486"/>
                    <a:ext cx="707264" cy="70726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28575">
                    <a:noFill/>
                    <a:round/>
                    <a:headEnd/>
                    <a:tailEnd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0" name="Oval 12">
                    <a:extLst>
                      <a:ext uri="{FF2B5EF4-FFF2-40B4-BE49-F238E27FC236}">
                        <a16:creationId xmlns:a16="http://schemas.microsoft.com/office/drawing/2014/main" id="{9D4D6E02-F2A6-116C-372C-1630CC21D2FE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1303617" y="2072479"/>
                    <a:ext cx="563279" cy="563279"/>
                  </a:xfrm>
                  <a:prstGeom prst="ellipse">
                    <a:avLst/>
                  </a:prstGeom>
                  <a:solidFill>
                    <a:schemeClr val="bg1"/>
                  </a:solidFill>
                  <a:ln w="28575">
                    <a:noFill/>
                    <a:round/>
                    <a:headEnd/>
                    <a:tailEnd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56" name="Group 199">
                  <a:extLst>
                    <a:ext uri="{FF2B5EF4-FFF2-40B4-BE49-F238E27FC236}">
                      <a16:creationId xmlns:a16="http://schemas.microsoft.com/office/drawing/2014/main" id="{6BAB48CB-D1EE-CCFC-497C-F2F469E7CE63}"/>
                    </a:ext>
                  </a:extLst>
                </p:cNvPr>
                <p:cNvGrpSpPr/>
                <p:nvPr/>
              </p:nvGrpSpPr>
              <p:grpSpPr>
                <a:xfrm>
                  <a:off x="4197058" y="4135889"/>
                  <a:ext cx="267630" cy="261156"/>
                  <a:chOff x="2700338" y="1873249"/>
                  <a:chExt cx="271463" cy="257175"/>
                </a:xfrm>
                <a:solidFill>
                  <a:schemeClr val="accent1"/>
                </a:solidFill>
              </p:grpSpPr>
              <p:sp>
                <p:nvSpPr>
                  <p:cNvPr id="57" name="Freeform 159">
                    <a:extLst>
                      <a:ext uri="{FF2B5EF4-FFF2-40B4-BE49-F238E27FC236}">
                        <a16:creationId xmlns:a16="http://schemas.microsoft.com/office/drawing/2014/main" id="{582FFE47-B7AC-7497-46F8-642845341D2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00338" y="1873249"/>
                    <a:ext cx="271463" cy="257175"/>
                  </a:xfrm>
                  <a:custGeom>
                    <a:avLst/>
                    <a:gdLst/>
                    <a:ahLst/>
                    <a:cxnLst>
                      <a:cxn ang="0">
                        <a:pos x="118" y="108"/>
                      </a:cxn>
                      <a:cxn ang="0">
                        <a:pos x="114" y="112"/>
                      </a:cxn>
                      <a:cxn ang="0">
                        <a:pos x="5" y="112"/>
                      </a:cxn>
                      <a:cxn ang="0">
                        <a:pos x="0" y="106"/>
                      </a:cxn>
                      <a:cxn ang="0">
                        <a:pos x="0" y="4"/>
                      </a:cxn>
                      <a:cxn ang="0">
                        <a:pos x="4" y="0"/>
                      </a:cxn>
                      <a:cxn ang="0">
                        <a:pos x="9" y="4"/>
                      </a:cxn>
                      <a:cxn ang="0">
                        <a:pos x="9" y="98"/>
                      </a:cxn>
                      <a:cxn ang="0">
                        <a:pos x="14" y="103"/>
                      </a:cxn>
                      <a:cxn ang="0">
                        <a:pos x="114" y="103"/>
                      </a:cxn>
                      <a:cxn ang="0">
                        <a:pos x="118" y="108"/>
                      </a:cxn>
                    </a:cxnLst>
                    <a:rect l="0" t="0" r="r" b="b"/>
                    <a:pathLst>
                      <a:path w="118" h="112">
                        <a:moveTo>
                          <a:pt x="118" y="108"/>
                        </a:moveTo>
                        <a:cubicBezTo>
                          <a:pt x="118" y="110"/>
                          <a:pt x="117" y="112"/>
                          <a:pt x="114" y="112"/>
                        </a:cubicBezTo>
                        <a:cubicBezTo>
                          <a:pt x="5" y="112"/>
                          <a:pt x="5" y="112"/>
                          <a:pt x="5" y="112"/>
                        </a:cubicBezTo>
                        <a:cubicBezTo>
                          <a:pt x="2" y="112"/>
                          <a:pt x="0" y="110"/>
                          <a:pt x="0" y="106"/>
                        </a:cubicBezTo>
                        <a:cubicBezTo>
                          <a:pt x="0" y="4"/>
                          <a:pt x="0" y="4"/>
                          <a:pt x="0" y="4"/>
                        </a:cubicBezTo>
                        <a:cubicBezTo>
                          <a:pt x="0" y="1"/>
                          <a:pt x="2" y="0"/>
                          <a:pt x="4" y="0"/>
                        </a:cubicBezTo>
                        <a:cubicBezTo>
                          <a:pt x="7" y="0"/>
                          <a:pt x="9" y="1"/>
                          <a:pt x="9" y="4"/>
                        </a:cubicBezTo>
                        <a:cubicBezTo>
                          <a:pt x="9" y="98"/>
                          <a:pt x="9" y="98"/>
                          <a:pt x="9" y="98"/>
                        </a:cubicBezTo>
                        <a:cubicBezTo>
                          <a:pt x="9" y="101"/>
                          <a:pt x="11" y="103"/>
                          <a:pt x="14" y="103"/>
                        </a:cubicBezTo>
                        <a:cubicBezTo>
                          <a:pt x="114" y="103"/>
                          <a:pt x="114" y="103"/>
                          <a:pt x="114" y="103"/>
                        </a:cubicBezTo>
                        <a:cubicBezTo>
                          <a:pt x="117" y="103"/>
                          <a:pt x="118" y="105"/>
                          <a:pt x="118" y="108"/>
                        </a:cubicBezTo>
                      </a:path>
                    </a:pathLst>
                  </a:custGeom>
                  <a:solidFill>
                    <a:srgbClr val="285172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8" name="Freeform 160">
                    <a:extLst>
                      <a:ext uri="{FF2B5EF4-FFF2-40B4-BE49-F238E27FC236}">
                        <a16:creationId xmlns:a16="http://schemas.microsoft.com/office/drawing/2014/main" id="{29CDE096-620A-7BA7-770E-F5854052585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40026" y="1898649"/>
                    <a:ext cx="212725" cy="179388"/>
                  </a:xfrm>
                  <a:custGeom>
                    <a:avLst/>
                    <a:gdLst/>
                    <a:ahLst/>
                    <a:cxnLst>
                      <a:cxn ang="0">
                        <a:pos x="91" y="27"/>
                      </a:cxn>
                      <a:cxn ang="0">
                        <a:pos x="93" y="26"/>
                      </a:cxn>
                      <a:cxn ang="0">
                        <a:pos x="90" y="2"/>
                      </a:cxn>
                      <a:cxn ang="0">
                        <a:pos x="88" y="0"/>
                      </a:cxn>
                      <a:cxn ang="0">
                        <a:pos x="65" y="9"/>
                      </a:cxn>
                      <a:cxn ang="0">
                        <a:pos x="65" y="11"/>
                      </a:cxn>
                      <a:cxn ang="0">
                        <a:pos x="69" y="14"/>
                      </a:cxn>
                      <a:cxn ang="0">
                        <a:pos x="70" y="17"/>
                      </a:cxn>
                      <a:cxn ang="0">
                        <a:pos x="53" y="43"/>
                      </a:cxn>
                      <a:cxn ang="0">
                        <a:pos x="49" y="44"/>
                      </a:cxn>
                      <a:cxn ang="0">
                        <a:pos x="23" y="34"/>
                      </a:cxn>
                      <a:cxn ang="0">
                        <a:pos x="19" y="36"/>
                      </a:cxn>
                      <a:cxn ang="0">
                        <a:pos x="2" y="55"/>
                      </a:cxn>
                      <a:cxn ang="0">
                        <a:pos x="0" y="60"/>
                      </a:cxn>
                      <a:cxn ang="0">
                        <a:pos x="0" y="77"/>
                      </a:cxn>
                      <a:cxn ang="0">
                        <a:pos x="2" y="77"/>
                      </a:cxn>
                      <a:cxn ang="0">
                        <a:pos x="23" y="53"/>
                      </a:cxn>
                      <a:cxn ang="0">
                        <a:pos x="28" y="52"/>
                      </a:cxn>
                      <a:cxn ang="0">
                        <a:pos x="54" y="62"/>
                      </a:cxn>
                      <a:cxn ang="0">
                        <a:pos x="58" y="60"/>
                      </a:cxn>
                      <a:cxn ang="0">
                        <a:pos x="82" y="25"/>
                      </a:cxn>
                      <a:cxn ang="0">
                        <a:pos x="86" y="24"/>
                      </a:cxn>
                      <a:cxn ang="0">
                        <a:pos x="91" y="27"/>
                      </a:cxn>
                    </a:cxnLst>
                    <a:rect l="0" t="0" r="r" b="b"/>
                    <a:pathLst>
                      <a:path w="93" h="78">
                        <a:moveTo>
                          <a:pt x="91" y="27"/>
                        </a:moveTo>
                        <a:cubicBezTo>
                          <a:pt x="92" y="28"/>
                          <a:pt x="93" y="27"/>
                          <a:pt x="93" y="26"/>
                        </a:cubicBezTo>
                        <a:cubicBezTo>
                          <a:pt x="90" y="2"/>
                          <a:pt x="90" y="2"/>
                          <a:pt x="90" y="2"/>
                        </a:cubicBezTo>
                        <a:cubicBezTo>
                          <a:pt x="90" y="1"/>
                          <a:pt x="89" y="0"/>
                          <a:pt x="88" y="0"/>
                        </a:cubicBezTo>
                        <a:cubicBezTo>
                          <a:pt x="65" y="9"/>
                          <a:pt x="65" y="9"/>
                          <a:pt x="65" y="9"/>
                        </a:cubicBezTo>
                        <a:cubicBezTo>
                          <a:pt x="64" y="9"/>
                          <a:pt x="64" y="10"/>
                          <a:pt x="65" y="11"/>
                        </a:cubicBezTo>
                        <a:cubicBezTo>
                          <a:pt x="69" y="14"/>
                          <a:pt x="69" y="14"/>
                          <a:pt x="69" y="14"/>
                        </a:cubicBezTo>
                        <a:cubicBezTo>
                          <a:pt x="71" y="14"/>
                          <a:pt x="71" y="16"/>
                          <a:pt x="70" y="17"/>
                        </a:cubicBezTo>
                        <a:cubicBezTo>
                          <a:pt x="53" y="43"/>
                          <a:pt x="53" y="43"/>
                          <a:pt x="53" y="43"/>
                        </a:cubicBezTo>
                        <a:cubicBezTo>
                          <a:pt x="52" y="44"/>
                          <a:pt x="51" y="45"/>
                          <a:pt x="49" y="44"/>
                        </a:cubicBezTo>
                        <a:cubicBezTo>
                          <a:pt x="23" y="34"/>
                          <a:pt x="23" y="34"/>
                          <a:pt x="23" y="34"/>
                        </a:cubicBezTo>
                        <a:cubicBezTo>
                          <a:pt x="22" y="34"/>
                          <a:pt x="20" y="34"/>
                          <a:pt x="19" y="36"/>
                        </a:cubicBezTo>
                        <a:cubicBezTo>
                          <a:pt x="2" y="55"/>
                          <a:pt x="2" y="55"/>
                          <a:pt x="2" y="55"/>
                        </a:cubicBezTo>
                        <a:cubicBezTo>
                          <a:pt x="1" y="57"/>
                          <a:pt x="0" y="59"/>
                          <a:pt x="0" y="60"/>
                        </a:cubicBezTo>
                        <a:cubicBezTo>
                          <a:pt x="0" y="77"/>
                          <a:pt x="0" y="77"/>
                          <a:pt x="0" y="77"/>
                        </a:cubicBezTo>
                        <a:cubicBezTo>
                          <a:pt x="0" y="78"/>
                          <a:pt x="1" y="78"/>
                          <a:pt x="2" y="77"/>
                        </a:cubicBezTo>
                        <a:cubicBezTo>
                          <a:pt x="23" y="53"/>
                          <a:pt x="23" y="53"/>
                          <a:pt x="23" y="53"/>
                        </a:cubicBezTo>
                        <a:cubicBezTo>
                          <a:pt x="24" y="51"/>
                          <a:pt x="26" y="51"/>
                          <a:pt x="28" y="52"/>
                        </a:cubicBezTo>
                        <a:cubicBezTo>
                          <a:pt x="54" y="62"/>
                          <a:pt x="54" y="62"/>
                          <a:pt x="54" y="62"/>
                        </a:cubicBezTo>
                        <a:cubicBezTo>
                          <a:pt x="55" y="62"/>
                          <a:pt x="57" y="61"/>
                          <a:pt x="58" y="60"/>
                        </a:cubicBezTo>
                        <a:cubicBezTo>
                          <a:pt x="82" y="25"/>
                          <a:pt x="82" y="25"/>
                          <a:pt x="82" y="25"/>
                        </a:cubicBezTo>
                        <a:cubicBezTo>
                          <a:pt x="83" y="24"/>
                          <a:pt x="84" y="23"/>
                          <a:pt x="86" y="24"/>
                        </a:cubicBezTo>
                        <a:lnTo>
                          <a:pt x="91" y="27"/>
                        </a:lnTo>
                        <a:close/>
                      </a:path>
                    </a:pathLst>
                  </a:custGeom>
                  <a:solidFill>
                    <a:srgbClr val="285172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66" name="Group 69">
                <a:extLst>
                  <a:ext uri="{FF2B5EF4-FFF2-40B4-BE49-F238E27FC236}">
                    <a16:creationId xmlns:a16="http://schemas.microsoft.com/office/drawing/2014/main" id="{DA748EBD-0B2C-0918-B286-A0668EE090F0}"/>
                  </a:ext>
                </a:extLst>
              </p:cNvPr>
              <p:cNvGrpSpPr/>
              <p:nvPr/>
            </p:nvGrpSpPr>
            <p:grpSpPr>
              <a:xfrm>
                <a:off x="6313058" y="3143437"/>
                <a:ext cx="439541" cy="503669"/>
                <a:chOff x="4425950" y="3640138"/>
                <a:chExt cx="593725" cy="655637"/>
              </a:xfrm>
              <a:solidFill>
                <a:srgbClr val="285172"/>
              </a:solidFill>
            </p:grpSpPr>
            <p:sp>
              <p:nvSpPr>
                <p:cNvPr id="67" name="Freeform 23">
                  <a:extLst>
                    <a:ext uri="{FF2B5EF4-FFF2-40B4-BE49-F238E27FC236}">
                      <a16:creationId xmlns:a16="http://schemas.microsoft.com/office/drawing/2014/main" id="{E9084733-ADEA-A95F-961F-CFE66D2AD0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95800" y="3640138"/>
                  <a:ext cx="141288" cy="141287"/>
                </a:xfrm>
                <a:custGeom>
                  <a:avLst/>
                  <a:gdLst/>
                  <a:ahLst/>
                  <a:cxnLst>
                    <a:cxn ang="0">
                      <a:pos x="85" y="42"/>
                    </a:cxn>
                    <a:cxn ang="0">
                      <a:pos x="43" y="85"/>
                    </a:cxn>
                    <a:cxn ang="0">
                      <a:pos x="0" y="42"/>
                    </a:cxn>
                    <a:cxn ang="0">
                      <a:pos x="43" y="0"/>
                    </a:cxn>
                    <a:cxn ang="0">
                      <a:pos x="85" y="42"/>
                    </a:cxn>
                    <a:cxn ang="0">
                      <a:pos x="85" y="42"/>
                    </a:cxn>
                    <a:cxn ang="0">
                      <a:pos x="85" y="42"/>
                    </a:cxn>
                  </a:cxnLst>
                  <a:rect l="0" t="0" r="r" b="b"/>
                  <a:pathLst>
                    <a:path w="85" h="85">
                      <a:moveTo>
                        <a:pt x="85" y="42"/>
                      </a:moveTo>
                      <a:cubicBezTo>
                        <a:pt x="85" y="66"/>
                        <a:pt x="66" y="85"/>
                        <a:pt x="43" y="85"/>
                      </a:cubicBezTo>
                      <a:cubicBezTo>
                        <a:pt x="19" y="85"/>
                        <a:pt x="0" y="66"/>
                        <a:pt x="0" y="42"/>
                      </a:cubicBezTo>
                      <a:cubicBezTo>
                        <a:pt x="0" y="19"/>
                        <a:pt x="19" y="0"/>
                        <a:pt x="43" y="0"/>
                      </a:cubicBezTo>
                      <a:cubicBezTo>
                        <a:pt x="66" y="0"/>
                        <a:pt x="85" y="19"/>
                        <a:pt x="85" y="42"/>
                      </a:cubicBezTo>
                      <a:close/>
                      <a:moveTo>
                        <a:pt x="85" y="42"/>
                      </a:moveTo>
                      <a:cubicBezTo>
                        <a:pt x="85" y="42"/>
                        <a:pt x="85" y="42"/>
                        <a:pt x="85" y="4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8" name="Freeform 24">
                  <a:extLst>
                    <a:ext uri="{FF2B5EF4-FFF2-40B4-BE49-F238E27FC236}">
                      <a16:creationId xmlns:a16="http://schemas.microsoft.com/office/drawing/2014/main" id="{295A361F-47C9-54CD-7614-AB382752C81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727575" y="3640138"/>
                  <a:ext cx="141288" cy="141287"/>
                </a:xfrm>
                <a:custGeom>
                  <a:avLst/>
                  <a:gdLst/>
                  <a:ahLst/>
                  <a:cxnLst>
                    <a:cxn ang="0">
                      <a:pos x="85" y="42"/>
                    </a:cxn>
                    <a:cxn ang="0">
                      <a:pos x="43" y="85"/>
                    </a:cxn>
                    <a:cxn ang="0">
                      <a:pos x="0" y="42"/>
                    </a:cxn>
                    <a:cxn ang="0">
                      <a:pos x="43" y="0"/>
                    </a:cxn>
                    <a:cxn ang="0">
                      <a:pos x="85" y="42"/>
                    </a:cxn>
                    <a:cxn ang="0">
                      <a:pos x="85" y="42"/>
                    </a:cxn>
                    <a:cxn ang="0">
                      <a:pos x="85" y="42"/>
                    </a:cxn>
                  </a:cxnLst>
                  <a:rect l="0" t="0" r="r" b="b"/>
                  <a:pathLst>
                    <a:path w="85" h="85">
                      <a:moveTo>
                        <a:pt x="85" y="42"/>
                      </a:moveTo>
                      <a:cubicBezTo>
                        <a:pt x="85" y="66"/>
                        <a:pt x="66" y="85"/>
                        <a:pt x="43" y="85"/>
                      </a:cubicBezTo>
                      <a:cubicBezTo>
                        <a:pt x="19" y="85"/>
                        <a:pt x="0" y="66"/>
                        <a:pt x="0" y="42"/>
                      </a:cubicBezTo>
                      <a:cubicBezTo>
                        <a:pt x="0" y="19"/>
                        <a:pt x="19" y="0"/>
                        <a:pt x="43" y="0"/>
                      </a:cubicBezTo>
                      <a:cubicBezTo>
                        <a:pt x="66" y="0"/>
                        <a:pt x="85" y="19"/>
                        <a:pt x="85" y="42"/>
                      </a:cubicBezTo>
                      <a:close/>
                      <a:moveTo>
                        <a:pt x="85" y="42"/>
                      </a:moveTo>
                      <a:cubicBezTo>
                        <a:pt x="85" y="42"/>
                        <a:pt x="85" y="42"/>
                        <a:pt x="85" y="4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9" name="Freeform 25">
                  <a:extLst>
                    <a:ext uri="{FF2B5EF4-FFF2-40B4-BE49-F238E27FC236}">
                      <a16:creationId xmlns:a16="http://schemas.microsoft.com/office/drawing/2014/main" id="{69DD3D91-11BB-5F8F-D957-A92C35A3285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43463" y="4206875"/>
                  <a:ext cx="73025" cy="8890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30"/>
                    </a:cxn>
                    <a:cxn ang="0">
                      <a:pos x="22" y="53"/>
                    </a:cxn>
                    <a:cxn ang="0">
                      <a:pos x="22" y="53"/>
                    </a:cxn>
                    <a:cxn ang="0">
                      <a:pos x="44" y="30"/>
                    </a:cxn>
                    <a:cxn ang="0">
                      <a:pos x="44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4" h="53">
                      <a:moveTo>
                        <a:pt x="0" y="0"/>
                      </a:move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43"/>
                        <a:pt x="10" y="53"/>
                        <a:pt x="22" y="53"/>
                      </a:cubicBezTo>
                      <a:cubicBezTo>
                        <a:pt x="22" y="53"/>
                        <a:pt x="22" y="53"/>
                        <a:pt x="22" y="53"/>
                      </a:cubicBezTo>
                      <a:cubicBezTo>
                        <a:pt x="34" y="53"/>
                        <a:pt x="44" y="43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lnTo>
                        <a:pt x="0" y="0"/>
                      </a:lnTo>
                      <a:close/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0" name="Freeform 26">
                  <a:extLst>
                    <a:ext uri="{FF2B5EF4-FFF2-40B4-BE49-F238E27FC236}">
                      <a16:creationId xmlns:a16="http://schemas.microsoft.com/office/drawing/2014/main" id="{549C7C57-ED06-8E72-AD83-0156586A67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425950" y="3776663"/>
                  <a:ext cx="593725" cy="519112"/>
                </a:xfrm>
                <a:custGeom>
                  <a:avLst/>
                  <a:gdLst/>
                  <a:ahLst/>
                  <a:cxnLst>
                    <a:cxn ang="0">
                      <a:pos x="327" y="159"/>
                    </a:cxn>
                    <a:cxn ang="0">
                      <a:pos x="312" y="142"/>
                    </a:cxn>
                    <a:cxn ang="0">
                      <a:pos x="312" y="138"/>
                    </a:cxn>
                    <a:cxn ang="0">
                      <a:pos x="284" y="26"/>
                    </a:cxn>
                    <a:cxn ang="0">
                      <a:pos x="254" y="0"/>
                    </a:cxn>
                    <a:cxn ang="0">
                      <a:pos x="254" y="0"/>
                    </a:cxn>
                    <a:cxn ang="0">
                      <a:pos x="244" y="1"/>
                    </a:cxn>
                    <a:cxn ang="0">
                      <a:pos x="235" y="4"/>
                    </a:cxn>
                    <a:cxn ang="0">
                      <a:pos x="213" y="34"/>
                    </a:cxn>
                    <a:cxn ang="0">
                      <a:pos x="212" y="35"/>
                    </a:cxn>
                    <a:cxn ang="0">
                      <a:pos x="201" y="74"/>
                    </a:cxn>
                    <a:cxn ang="0">
                      <a:pos x="154" y="82"/>
                    </a:cxn>
                    <a:cxn ang="0">
                      <a:pos x="140" y="90"/>
                    </a:cxn>
                    <a:cxn ang="0">
                      <a:pos x="111" y="77"/>
                    </a:cxn>
                    <a:cxn ang="0">
                      <a:pos x="99" y="35"/>
                    </a:cxn>
                    <a:cxn ang="0">
                      <a:pos x="99" y="34"/>
                    </a:cxn>
                    <a:cxn ang="0">
                      <a:pos x="76" y="4"/>
                    </a:cxn>
                    <a:cxn ang="0">
                      <a:pos x="68" y="1"/>
                    </a:cxn>
                    <a:cxn ang="0">
                      <a:pos x="58" y="0"/>
                    </a:cxn>
                    <a:cxn ang="0">
                      <a:pos x="58" y="0"/>
                    </a:cxn>
                    <a:cxn ang="0">
                      <a:pos x="22" y="26"/>
                    </a:cxn>
                    <a:cxn ang="0">
                      <a:pos x="3" y="117"/>
                    </a:cxn>
                    <a:cxn ang="0">
                      <a:pos x="14" y="148"/>
                    </a:cxn>
                    <a:cxn ang="0">
                      <a:pos x="14" y="289"/>
                    </a:cxn>
                    <a:cxn ang="0">
                      <a:pos x="37" y="312"/>
                    </a:cxn>
                    <a:cxn ang="0">
                      <a:pos x="59" y="289"/>
                    </a:cxn>
                    <a:cxn ang="0">
                      <a:pos x="59" y="156"/>
                    </a:cxn>
                    <a:cxn ang="0">
                      <a:pos x="79" y="134"/>
                    </a:cxn>
                    <a:cxn ang="0">
                      <a:pos x="86" y="99"/>
                    </a:cxn>
                    <a:cxn ang="0">
                      <a:pos x="152" y="125"/>
                    </a:cxn>
                    <a:cxn ang="0">
                      <a:pos x="154" y="126"/>
                    </a:cxn>
                    <a:cxn ang="0">
                      <a:pos x="170" y="115"/>
                    </a:cxn>
                    <a:cxn ang="0">
                      <a:pos x="225" y="96"/>
                    </a:cxn>
                    <a:cxn ang="0">
                      <a:pos x="233" y="134"/>
                    </a:cxn>
                    <a:cxn ang="0">
                      <a:pos x="249" y="154"/>
                    </a:cxn>
                    <a:cxn ang="0">
                      <a:pos x="260" y="154"/>
                    </a:cxn>
                    <a:cxn ang="0">
                      <a:pos x="273" y="139"/>
                    </a:cxn>
                    <a:cxn ang="0">
                      <a:pos x="253" y="71"/>
                    </a:cxn>
                    <a:cxn ang="0">
                      <a:pos x="258" y="68"/>
                    </a:cxn>
                    <a:cxn ang="0">
                      <a:pos x="279" y="142"/>
                    </a:cxn>
                    <a:cxn ang="0">
                      <a:pos x="264" y="159"/>
                    </a:cxn>
                    <a:cxn ang="0">
                      <a:pos x="232" y="159"/>
                    </a:cxn>
                    <a:cxn ang="0">
                      <a:pos x="232" y="253"/>
                    </a:cxn>
                    <a:cxn ang="0">
                      <a:pos x="359" y="253"/>
                    </a:cxn>
                    <a:cxn ang="0">
                      <a:pos x="359" y="159"/>
                    </a:cxn>
                    <a:cxn ang="0">
                      <a:pos x="327" y="159"/>
                    </a:cxn>
                    <a:cxn ang="0">
                      <a:pos x="275" y="159"/>
                    </a:cxn>
                    <a:cxn ang="0">
                      <a:pos x="284" y="152"/>
                    </a:cxn>
                    <a:cxn ang="0">
                      <a:pos x="296" y="157"/>
                    </a:cxn>
                    <a:cxn ang="0">
                      <a:pos x="299" y="157"/>
                    </a:cxn>
                    <a:cxn ang="0">
                      <a:pos x="308" y="152"/>
                    </a:cxn>
                    <a:cxn ang="0">
                      <a:pos x="316" y="159"/>
                    </a:cxn>
                    <a:cxn ang="0">
                      <a:pos x="275" y="159"/>
                    </a:cxn>
                    <a:cxn ang="0">
                      <a:pos x="275" y="159"/>
                    </a:cxn>
                    <a:cxn ang="0">
                      <a:pos x="275" y="159"/>
                    </a:cxn>
                  </a:cxnLst>
                  <a:rect l="0" t="0" r="r" b="b"/>
                  <a:pathLst>
                    <a:path w="359" h="312">
                      <a:moveTo>
                        <a:pt x="327" y="159"/>
                      </a:moveTo>
                      <a:cubicBezTo>
                        <a:pt x="326" y="151"/>
                        <a:pt x="320" y="144"/>
                        <a:pt x="312" y="142"/>
                      </a:cubicBezTo>
                      <a:cubicBezTo>
                        <a:pt x="312" y="140"/>
                        <a:pt x="312" y="139"/>
                        <a:pt x="312" y="138"/>
                      </a:cubicBezTo>
                      <a:cubicBezTo>
                        <a:pt x="310" y="127"/>
                        <a:pt x="284" y="26"/>
                        <a:pt x="284" y="26"/>
                      </a:cubicBezTo>
                      <a:cubicBezTo>
                        <a:pt x="280" y="9"/>
                        <a:pt x="269" y="1"/>
                        <a:pt x="254" y="0"/>
                      </a:cubicBezTo>
                      <a:cubicBezTo>
                        <a:pt x="254" y="0"/>
                        <a:pt x="254" y="0"/>
                        <a:pt x="254" y="0"/>
                      </a:cubicBezTo>
                      <a:cubicBezTo>
                        <a:pt x="254" y="0"/>
                        <a:pt x="249" y="0"/>
                        <a:pt x="244" y="1"/>
                      </a:cubicBezTo>
                      <a:cubicBezTo>
                        <a:pt x="239" y="2"/>
                        <a:pt x="235" y="4"/>
                        <a:pt x="235" y="4"/>
                      </a:cubicBezTo>
                      <a:cubicBezTo>
                        <a:pt x="225" y="10"/>
                        <a:pt x="214" y="20"/>
                        <a:pt x="213" y="34"/>
                      </a:cubicBezTo>
                      <a:cubicBezTo>
                        <a:pt x="213" y="34"/>
                        <a:pt x="213" y="35"/>
                        <a:pt x="212" y="35"/>
                      </a:cubicBezTo>
                      <a:cubicBezTo>
                        <a:pt x="210" y="56"/>
                        <a:pt x="207" y="68"/>
                        <a:pt x="201" y="74"/>
                      </a:cubicBezTo>
                      <a:cubicBezTo>
                        <a:pt x="194" y="80"/>
                        <a:pt x="180" y="82"/>
                        <a:pt x="154" y="82"/>
                      </a:cubicBezTo>
                      <a:cubicBezTo>
                        <a:pt x="148" y="82"/>
                        <a:pt x="143" y="85"/>
                        <a:pt x="140" y="90"/>
                      </a:cubicBezTo>
                      <a:cubicBezTo>
                        <a:pt x="125" y="87"/>
                        <a:pt x="116" y="83"/>
                        <a:pt x="111" y="77"/>
                      </a:cubicBezTo>
                      <a:cubicBezTo>
                        <a:pt x="105" y="70"/>
                        <a:pt x="102" y="57"/>
                        <a:pt x="99" y="35"/>
                      </a:cubicBezTo>
                      <a:cubicBezTo>
                        <a:pt x="99" y="35"/>
                        <a:pt x="99" y="34"/>
                        <a:pt x="99" y="34"/>
                      </a:cubicBezTo>
                      <a:cubicBezTo>
                        <a:pt x="98" y="20"/>
                        <a:pt x="87" y="10"/>
                        <a:pt x="76" y="4"/>
                      </a:cubicBezTo>
                      <a:cubicBezTo>
                        <a:pt x="76" y="4"/>
                        <a:pt x="72" y="2"/>
                        <a:pt x="68" y="1"/>
                      </a:cubicBezTo>
                      <a:cubicBezTo>
                        <a:pt x="63" y="0"/>
                        <a:pt x="58" y="0"/>
                        <a:pt x="58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43" y="1"/>
                        <a:pt x="26" y="9"/>
                        <a:pt x="22" y="26"/>
                      </a:cubicBezTo>
                      <a:cubicBezTo>
                        <a:pt x="3" y="117"/>
                        <a:pt x="3" y="117"/>
                        <a:pt x="3" y="117"/>
                      </a:cubicBezTo>
                      <a:cubicBezTo>
                        <a:pt x="0" y="130"/>
                        <a:pt x="6" y="141"/>
                        <a:pt x="14" y="148"/>
                      </a:cubicBezTo>
                      <a:cubicBezTo>
                        <a:pt x="14" y="289"/>
                        <a:pt x="14" y="289"/>
                        <a:pt x="14" y="289"/>
                      </a:cubicBezTo>
                      <a:cubicBezTo>
                        <a:pt x="14" y="302"/>
                        <a:pt x="24" y="312"/>
                        <a:pt x="37" y="312"/>
                      </a:cubicBezTo>
                      <a:cubicBezTo>
                        <a:pt x="49" y="312"/>
                        <a:pt x="59" y="302"/>
                        <a:pt x="59" y="289"/>
                      </a:cubicBezTo>
                      <a:cubicBezTo>
                        <a:pt x="59" y="156"/>
                        <a:pt x="59" y="156"/>
                        <a:pt x="59" y="156"/>
                      </a:cubicBezTo>
                      <a:cubicBezTo>
                        <a:pt x="68" y="152"/>
                        <a:pt x="76" y="145"/>
                        <a:pt x="79" y="134"/>
                      </a:cubicBezTo>
                      <a:cubicBezTo>
                        <a:pt x="86" y="99"/>
                        <a:pt x="86" y="99"/>
                        <a:pt x="86" y="99"/>
                      </a:cubicBezTo>
                      <a:cubicBezTo>
                        <a:pt x="98" y="113"/>
                        <a:pt x="117" y="121"/>
                        <a:pt x="152" y="125"/>
                      </a:cubicBezTo>
                      <a:cubicBezTo>
                        <a:pt x="153" y="126"/>
                        <a:pt x="154" y="126"/>
                        <a:pt x="154" y="126"/>
                      </a:cubicBezTo>
                      <a:cubicBezTo>
                        <a:pt x="161" y="126"/>
                        <a:pt x="168" y="121"/>
                        <a:pt x="170" y="115"/>
                      </a:cubicBezTo>
                      <a:cubicBezTo>
                        <a:pt x="197" y="113"/>
                        <a:pt x="214" y="108"/>
                        <a:pt x="225" y="96"/>
                      </a:cubicBezTo>
                      <a:cubicBezTo>
                        <a:pt x="233" y="134"/>
                        <a:pt x="233" y="134"/>
                        <a:pt x="233" y="134"/>
                      </a:cubicBezTo>
                      <a:cubicBezTo>
                        <a:pt x="235" y="143"/>
                        <a:pt x="241" y="150"/>
                        <a:pt x="249" y="154"/>
                      </a:cubicBezTo>
                      <a:cubicBezTo>
                        <a:pt x="260" y="154"/>
                        <a:pt x="260" y="154"/>
                        <a:pt x="260" y="154"/>
                      </a:cubicBezTo>
                      <a:cubicBezTo>
                        <a:pt x="262" y="148"/>
                        <a:pt x="267" y="142"/>
                        <a:pt x="273" y="139"/>
                      </a:cubicBezTo>
                      <a:cubicBezTo>
                        <a:pt x="267" y="113"/>
                        <a:pt x="259" y="86"/>
                        <a:pt x="253" y="71"/>
                      </a:cubicBezTo>
                      <a:cubicBezTo>
                        <a:pt x="248" y="62"/>
                        <a:pt x="255" y="59"/>
                        <a:pt x="258" y="68"/>
                      </a:cubicBezTo>
                      <a:cubicBezTo>
                        <a:pt x="261" y="77"/>
                        <a:pt x="274" y="116"/>
                        <a:pt x="279" y="142"/>
                      </a:cubicBezTo>
                      <a:cubicBezTo>
                        <a:pt x="271" y="144"/>
                        <a:pt x="265" y="151"/>
                        <a:pt x="264" y="159"/>
                      </a:cubicBezTo>
                      <a:cubicBezTo>
                        <a:pt x="232" y="159"/>
                        <a:pt x="232" y="159"/>
                        <a:pt x="232" y="159"/>
                      </a:cubicBezTo>
                      <a:cubicBezTo>
                        <a:pt x="232" y="253"/>
                        <a:pt x="232" y="253"/>
                        <a:pt x="232" y="253"/>
                      </a:cubicBezTo>
                      <a:cubicBezTo>
                        <a:pt x="359" y="253"/>
                        <a:pt x="359" y="253"/>
                        <a:pt x="359" y="253"/>
                      </a:cubicBezTo>
                      <a:cubicBezTo>
                        <a:pt x="359" y="159"/>
                        <a:pt x="359" y="159"/>
                        <a:pt x="359" y="159"/>
                      </a:cubicBezTo>
                      <a:lnTo>
                        <a:pt x="327" y="159"/>
                      </a:lnTo>
                      <a:close/>
                      <a:moveTo>
                        <a:pt x="275" y="159"/>
                      </a:moveTo>
                      <a:cubicBezTo>
                        <a:pt x="277" y="155"/>
                        <a:pt x="280" y="153"/>
                        <a:pt x="284" y="152"/>
                      </a:cubicBezTo>
                      <a:cubicBezTo>
                        <a:pt x="287" y="155"/>
                        <a:pt x="291" y="157"/>
                        <a:pt x="296" y="157"/>
                      </a:cubicBezTo>
                      <a:cubicBezTo>
                        <a:pt x="297" y="157"/>
                        <a:pt x="298" y="157"/>
                        <a:pt x="299" y="157"/>
                      </a:cubicBezTo>
                      <a:cubicBezTo>
                        <a:pt x="302" y="156"/>
                        <a:pt x="305" y="154"/>
                        <a:pt x="308" y="152"/>
                      </a:cubicBezTo>
                      <a:cubicBezTo>
                        <a:pt x="312" y="153"/>
                        <a:pt x="315" y="155"/>
                        <a:pt x="316" y="159"/>
                      </a:cubicBezTo>
                      <a:lnTo>
                        <a:pt x="275" y="159"/>
                      </a:lnTo>
                      <a:close/>
                      <a:moveTo>
                        <a:pt x="275" y="159"/>
                      </a:moveTo>
                      <a:cubicBezTo>
                        <a:pt x="275" y="159"/>
                        <a:pt x="275" y="159"/>
                        <a:pt x="275" y="159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72" name="Additionszeichen 71">
                <a:extLst>
                  <a:ext uri="{FF2B5EF4-FFF2-40B4-BE49-F238E27FC236}">
                    <a16:creationId xmlns:a16="http://schemas.microsoft.com/office/drawing/2014/main" id="{8C9DB1D9-F5E3-EEF1-1C2B-035DCA591357}"/>
                  </a:ext>
                </a:extLst>
              </p:cNvPr>
              <p:cNvSpPr/>
              <p:nvPr/>
            </p:nvSpPr>
            <p:spPr>
              <a:xfrm>
                <a:off x="6044679" y="3306306"/>
                <a:ext cx="248361" cy="247664"/>
              </a:xfrm>
              <a:prstGeom prst="mathPlus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de-DE" err="1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15000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„Smarte“ Zusammenarbei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2D001F-4B71-8322-F091-D1E19B17A8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Beweggründe der Zusammenarbeit</a:t>
            </a:r>
          </a:p>
        </p:txBody>
      </p:sp>
      <p:cxnSp>
        <p:nvCxnSpPr>
          <p:cNvPr id="5" name="直線コネクタ 117">
            <a:extLst>
              <a:ext uri="{FF2B5EF4-FFF2-40B4-BE49-F238E27FC236}">
                <a16:creationId xmlns:a16="http://schemas.microsoft.com/office/drawing/2014/main" id="{B1C70DD7-B74F-4739-510E-D9D7F01DEABF}"/>
              </a:ext>
            </a:extLst>
          </p:cNvPr>
          <p:cNvCxnSpPr>
            <a:cxnSpLocks/>
            <a:endCxn id="14" idx="0"/>
          </p:cNvCxnSpPr>
          <p:nvPr/>
        </p:nvCxnSpPr>
        <p:spPr>
          <a:xfrm flipV="1">
            <a:off x="6315350" y="2376303"/>
            <a:ext cx="2092030" cy="223261"/>
          </a:xfrm>
          <a:prstGeom prst="bentConnector4">
            <a:avLst>
              <a:gd name="adj1" fmla="val 19563"/>
              <a:gd name="adj2" fmla="val 202391"/>
            </a:avLst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コネクタ 122">
            <a:extLst>
              <a:ext uri="{FF2B5EF4-FFF2-40B4-BE49-F238E27FC236}">
                <a16:creationId xmlns:a16="http://schemas.microsoft.com/office/drawing/2014/main" id="{2D0C5ACC-3EC0-790B-6192-25FCEADE8850}"/>
              </a:ext>
            </a:extLst>
          </p:cNvPr>
          <p:cNvCxnSpPr>
            <a:cxnSpLocks/>
            <a:stCxn id="20" idx="2"/>
            <a:endCxn id="15" idx="1"/>
          </p:cNvCxnSpPr>
          <p:nvPr/>
        </p:nvCxnSpPr>
        <p:spPr>
          <a:xfrm>
            <a:off x="6820736" y="3500932"/>
            <a:ext cx="655393" cy="214891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線コネクタ 125">
            <a:extLst>
              <a:ext uri="{FF2B5EF4-FFF2-40B4-BE49-F238E27FC236}">
                <a16:creationId xmlns:a16="http://schemas.microsoft.com/office/drawing/2014/main" id="{A640F03C-182A-C1D8-A781-9AB0F341B25D}"/>
              </a:ext>
            </a:extLst>
          </p:cNvPr>
          <p:cNvCxnSpPr>
            <a:cxnSpLocks/>
            <a:stCxn id="21" idx="3"/>
            <a:endCxn id="16" idx="1"/>
          </p:cNvCxnSpPr>
          <p:nvPr/>
        </p:nvCxnSpPr>
        <p:spPr>
          <a:xfrm>
            <a:off x="6202106" y="4490949"/>
            <a:ext cx="894642" cy="413778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線コネクタ 128">
            <a:extLst>
              <a:ext uri="{FF2B5EF4-FFF2-40B4-BE49-F238E27FC236}">
                <a16:creationId xmlns:a16="http://schemas.microsoft.com/office/drawing/2014/main" id="{638AAD18-F70D-F93B-AEA8-718D6A690E60}"/>
              </a:ext>
            </a:extLst>
          </p:cNvPr>
          <p:cNvCxnSpPr>
            <a:cxnSpLocks/>
            <a:stCxn id="12" idx="3"/>
            <a:endCxn id="23" idx="3"/>
          </p:cNvCxnSpPr>
          <p:nvPr/>
        </p:nvCxnSpPr>
        <p:spPr>
          <a:xfrm flipV="1">
            <a:off x="4409339" y="4490593"/>
            <a:ext cx="841350" cy="414134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線コネクタ 131">
            <a:extLst>
              <a:ext uri="{FF2B5EF4-FFF2-40B4-BE49-F238E27FC236}">
                <a16:creationId xmlns:a16="http://schemas.microsoft.com/office/drawing/2014/main" id="{51C765D6-22A6-33FC-1FA6-C244F0AFA7D3}"/>
              </a:ext>
            </a:extLst>
          </p:cNvPr>
          <p:cNvCxnSpPr>
            <a:cxnSpLocks/>
            <a:stCxn id="13" idx="3"/>
            <a:endCxn id="18" idx="2"/>
          </p:cNvCxnSpPr>
          <p:nvPr/>
        </p:nvCxnSpPr>
        <p:spPr>
          <a:xfrm flipV="1">
            <a:off x="3963755" y="3500575"/>
            <a:ext cx="668305" cy="215248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134">
            <a:extLst>
              <a:ext uri="{FF2B5EF4-FFF2-40B4-BE49-F238E27FC236}">
                <a16:creationId xmlns:a16="http://schemas.microsoft.com/office/drawing/2014/main" id="{635ADB5F-D144-0FF3-884D-6D299DE025DA}"/>
              </a:ext>
            </a:extLst>
          </p:cNvPr>
          <p:cNvCxnSpPr>
            <a:cxnSpLocks/>
            <a:stCxn id="11" idx="0"/>
          </p:cNvCxnSpPr>
          <p:nvPr/>
        </p:nvCxnSpPr>
        <p:spPr>
          <a:xfrm rot="16200000" flipH="1">
            <a:off x="4020776" y="1459647"/>
            <a:ext cx="191606" cy="2061695"/>
          </a:xfrm>
          <a:prstGeom prst="bentConnector4">
            <a:avLst>
              <a:gd name="adj1" fmla="val -119307"/>
              <a:gd name="adj2" fmla="val 82100"/>
            </a:avLst>
          </a:prstGeom>
          <a:ln w="19050">
            <a:solidFill>
              <a:schemeClr val="tx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59">
            <a:extLst>
              <a:ext uri="{FF2B5EF4-FFF2-40B4-BE49-F238E27FC236}">
                <a16:creationId xmlns:a16="http://schemas.microsoft.com/office/drawing/2014/main" id="{869CAC0B-5E3F-7756-D487-9A94712BA45E}"/>
              </a:ext>
            </a:extLst>
          </p:cNvPr>
          <p:cNvSpPr/>
          <p:nvPr/>
        </p:nvSpPr>
        <p:spPr>
          <a:xfrm>
            <a:off x="1762125" y="2394691"/>
            <a:ext cx="264721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rgbClr val="575757"/>
                </a:solidFill>
              </a:rPr>
              <a:t>Mensch</a:t>
            </a:r>
          </a:p>
          <a:p>
            <a:pPr algn="ctr"/>
            <a:r>
              <a:rPr lang="en-US" sz="1050" err="1">
                <a:solidFill>
                  <a:srgbClr val="575757"/>
                </a:solidFill>
              </a:rPr>
              <a:t>Wissenstransfer</a:t>
            </a:r>
            <a:r>
              <a:rPr lang="en-US" sz="1050">
                <a:solidFill>
                  <a:srgbClr val="575757"/>
                </a:solidFill>
              </a:rPr>
              <a:t> </a:t>
            </a:r>
            <a:r>
              <a:rPr lang="en-US" sz="1050" err="1">
                <a:solidFill>
                  <a:srgbClr val="575757"/>
                </a:solidFill>
              </a:rPr>
              <a:t>zwischen</a:t>
            </a:r>
            <a:r>
              <a:rPr lang="en-US" sz="1050">
                <a:solidFill>
                  <a:srgbClr val="575757"/>
                </a:solidFill>
              </a:rPr>
              <a:t> </a:t>
            </a:r>
            <a:r>
              <a:rPr lang="en-US" sz="1050" err="1">
                <a:solidFill>
                  <a:srgbClr val="575757"/>
                </a:solidFill>
              </a:rPr>
              <a:t>Facharbeitern</a:t>
            </a:r>
            <a:r>
              <a:rPr lang="en-US" sz="1050">
                <a:solidFill>
                  <a:srgbClr val="575757"/>
                </a:solidFill>
              </a:rPr>
              <a:t> und </a:t>
            </a:r>
            <a:r>
              <a:rPr lang="en-US" sz="1050" err="1">
                <a:solidFill>
                  <a:srgbClr val="575757"/>
                </a:solidFill>
              </a:rPr>
              <a:t>Experten</a:t>
            </a:r>
            <a:endParaRPr lang="en-US" sz="1000">
              <a:solidFill>
                <a:srgbClr val="575757"/>
              </a:solidFill>
            </a:endParaRPr>
          </a:p>
        </p:txBody>
      </p:sp>
      <p:sp>
        <p:nvSpPr>
          <p:cNvPr id="12" name="Rectangle 60">
            <a:extLst>
              <a:ext uri="{FF2B5EF4-FFF2-40B4-BE49-F238E27FC236}">
                <a16:creationId xmlns:a16="http://schemas.microsoft.com/office/drawing/2014/main" id="{D23742FD-6820-0B4C-767B-5234917A806F}"/>
              </a:ext>
            </a:extLst>
          </p:cNvPr>
          <p:cNvSpPr/>
          <p:nvPr/>
        </p:nvSpPr>
        <p:spPr>
          <a:xfrm>
            <a:off x="1685577" y="4533760"/>
            <a:ext cx="2723762" cy="741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>
                <a:solidFill>
                  <a:srgbClr val="575757"/>
                </a:solidFill>
              </a:rPr>
              <a:t>Flexibilität</a:t>
            </a:r>
          </a:p>
          <a:p>
            <a:pPr algn="r">
              <a:lnSpc>
                <a:spcPct val="150000"/>
              </a:lnSpc>
            </a:pPr>
            <a:r>
              <a:rPr lang="en-US" sz="1051" err="1">
                <a:solidFill>
                  <a:srgbClr val="575757"/>
                </a:solidFill>
              </a:rPr>
              <a:t>Zugriff</a:t>
            </a:r>
            <a:r>
              <a:rPr lang="en-US" sz="1051">
                <a:solidFill>
                  <a:srgbClr val="575757"/>
                </a:solidFill>
              </a:rPr>
              <a:t> auf alle </a:t>
            </a:r>
            <a:r>
              <a:rPr lang="en-US" sz="1051" err="1">
                <a:solidFill>
                  <a:srgbClr val="575757"/>
                </a:solidFill>
              </a:rPr>
              <a:t>Prozesse</a:t>
            </a:r>
            <a:r>
              <a:rPr lang="en-US" sz="1051">
                <a:solidFill>
                  <a:srgbClr val="575757"/>
                </a:solidFill>
              </a:rPr>
              <a:t> und Technologien</a:t>
            </a:r>
          </a:p>
          <a:p>
            <a:pPr algn="r">
              <a:lnSpc>
                <a:spcPct val="150000"/>
              </a:lnSpc>
            </a:pPr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Rectangle 61">
            <a:extLst>
              <a:ext uri="{FF2B5EF4-FFF2-40B4-BE49-F238E27FC236}">
                <a16:creationId xmlns:a16="http://schemas.microsoft.com/office/drawing/2014/main" id="{544C8FD6-2278-0717-09EF-AA10EC0F0F1C}"/>
              </a:ext>
            </a:extLst>
          </p:cNvPr>
          <p:cNvSpPr/>
          <p:nvPr/>
        </p:nvSpPr>
        <p:spPr>
          <a:xfrm>
            <a:off x="1316541" y="3471076"/>
            <a:ext cx="2647214" cy="489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>
                <a:solidFill>
                  <a:srgbClr val="575757"/>
                </a:solidFill>
              </a:rPr>
              <a:t>Material</a:t>
            </a:r>
          </a:p>
          <a:p>
            <a:pPr algn="r">
              <a:lnSpc>
                <a:spcPct val="150000"/>
              </a:lnSpc>
            </a:pPr>
            <a:r>
              <a:rPr lang="en-US" sz="1051">
                <a:solidFill>
                  <a:srgbClr val="575757"/>
                </a:solidFill>
              </a:rPr>
              <a:t>Fertigung von </a:t>
            </a:r>
            <a:r>
              <a:rPr lang="en-US" sz="1051" err="1">
                <a:solidFill>
                  <a:srgbClr val="575757"/>
                </a:solidFill>
              </a:rPr>
              <a:t>Bauteilen</a:t>
            </a:r>
            <a:r>
              <a:rPr lang="en-US" sz="1051">
                <a:solidFill>
                  <a:srgbClr val="575757"/>
                </a:solidFill>
              </a:rPr>
              <a:t> </a:t>
            </a:r>
            <a:r>
              <a:rPr lang="en-US" sz="1051" err="1">
                <a:solidFill>
                  <a:srgbClr val="575757"/>
                </a:solidFill>
              </a:rPr>
              <a:t>mit</a:t>
            </a:r>
            <a:r>
              <a:rPr lang="en-US" sz="1051">
                <a:solidFill>
                  <a:srgbClr val="575757"/>
                </a:solidFill>
              </a:rPr>
              <a:t> </a:t>
            </a:r>
            <a:r>
              <a:rPr lang="en-US" sz="1051" err="1">
                <a:solidFill>
                  <a:srgbClr val="575757"/>
                </a:solidFill>
              </a:rPr>
              <a:t>Verwendung</a:t>
            </a:r>
            <a:endParaRPr lang="en-US" sz="1100">
              <a:solidFill>
                <a:srgbClr val="575757"/>
              </a:solidFill>
            </a:endParaRPr>
          </a:p>
        </p:txBody>
      </p:sp>
      <p:sp>
        <p:nvSpPr>
          <p:cNvPr id="14" name="Rectangle 62">
            <a:extLst>
              <a:ext uri="{FF2B5EF4-FFF2-40B4-BE49-F238E27FC236}">
                <a16:creationId xmlns:a16="http://schemas.microsoft.com/office/drawing/2014/main" id="{431C0127-6BBD-4959-C9A5-6D74E19CFD6A}"/>
              </a:ext>
            </a:extLst>
          </p:cNvPr>
          <p:cNvSpPr/>
          <p:nvPr/>
        </p:nvSpPr>
        <p:spPr>
          <a:xfrm>
            <a:off x="6981478" y="2376303"/>
            <a:ext cx="2851803" cy="499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200" b="1">
                <a:solidFill>
                  <a:srgbClr val="575757"/>
                </a:solidFill>
              </a:rPr>
              <a:t>Kundenerlebnis</a:t>
            </a:r>
          </a:p>
          <a:p>
            <a:pPr algn="ctr">
              <a:lnSpc>
                <a:spcPct val="150000"/>
              </a:lnSpc>
            </a:pPr>
            <a:r>
              <a:rPr lang="en-US" sz="1051" err="1">
                <a:solidFill>
                  <a:srgbClr val="575757"/>
                </a:solidFill>
              </a:rPr>
              <a:t>Reale</a:t>
            </a:r>
            <a:r>
              <a:rPr lang="en-US" sz="1051">
                <a:solidFill>
                  <a:srgbClr val="575757"/>
                </a:solidFill>
              </a:rPr>
              <a:t> </a:t>
            </a:r>
            <a:r>
              <a:rPr lang="en-US" sz="1051" err="1">
                <a:solidFill>
                  <a:srgbClr val="575757"/>
                </a:solidFill>
              </a:rPr>
              <a:t>Produktionsumgebung</a:t>
            </a:r>
            <a:r>
              <a:rPr lang="en-US" sz="1051">
                <a:solidFill>
                  <a:srgbClr val="575757"/>
                </a:solidFill>
              </a:rPr>
              <a:t> </a:t>
            </a:r>
            <a:r>
              <a:rPr lang="en-US" sz="1051" err="1">
                <a:solidFill>
                  <a:srgbClr val="575757"/>
                </a:solidFill>
              </a:rPr>
              <a:t>als</a:t>
            </a:r>
            <a:r>
              <a:rPr lang="en-US" sz="1051">
                <a:solidFill>
                  <a:srgbClr val="575757"/>
                </a:solidFill>
              </a:rPr>
              <a:t> Showcase</a:t>
            </a:r>
            <a:endParaRPr lang="en-US" sz="1100">
              <a:solidFill>
                <a:srgbClr val="575757"/>
              </a:solidFill>
            </a:endParaRPr>
          </a:p>
        </p:txBody>
      </p:sp>
      <p:sp>
        <p:nvSpPr>
          <p:cNvPr id="15" name="Rectangle 63">
            <a:extLst>
              <a:ext uri="{FF2B5EF4-FFF2-40B4-BE49-F238E27FC236}">
                <a16:creationId xmlns:a16="http://schemas.microsoft.com/office/drawing/2014/main" id="{441817EE-D5AE-5576-5E40-9F180CF59059}"/>
              </a:ext>
            </a:extLst>
          </p:cNvPr>
          <p:cNvSpPr/>
          <p:nvPr/>
        </p:nvSpPr>
        <p:spPr>
          <a:xfrm>
            <a:off x="7476129" y="3471076"/>
            <a:ext cx="3193576" cy="48949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200" b="1" err="1">
                <a:solidFill>
                  <a:srgbClr val="575757"/>
                </a:solidFill>
              </a:rPr>
              <a:t>Wirtschaftlichkeit</a:t>
            </a:r>
            <a:endParaRPr lang="en-US" sz="1200" b="1">
              <a:solidFill>
                <a:srgbClr val="575757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1051" err="1">
                <a:solidFill>
                  <a:srgbClr val="575757"/>
                </a:solidFill>
              </a:rPr>
              <a:t>Gemeinsame</a:t>
            </a:r>
            <a:r>
              <a:rPr lang="en-US" sz="1051">
                <a:solidFill>
                  <a:srgbClr val="575757"/>
                </a:solidFill>
              </a:rPr>
              <a:t> </a:t>
            </a:r>
            <a:r>
              <a:rPr lang="en-US" sz="1051" err="1">
                <a:solidFill>
                  <a:srgbClr val="575757"/>
                </a:solidFill>
              </a:rPr>
              <a:t>Ressourcennutzung</a:t>
            </a:r>
            <a:r>
              <a:rPr lang="en-US" sz="1051">
                <a:solidFill>
                  <a:srgbClr val="575757"/>
                </a:solidFill>
              </a:rPr>
              <a:t> </a:t>
            </a:r>
          </a:p>
        </p:txBody>
      </p:sp>
      <p:sp>
        <p:nvSpPr>
          <p:cNvPr id="16" name="Rectangle 64">
            <a:extLst>
              <a:ext uri="{FF2B5EF4-FFF2-40B4-BE49-F238E27FC236}">
                <a16:creationId xmlns:a16="http://schemas.microsoft.com/office/drawing/2014/main" id="{065A87E0-9993-BCB4-EAF2-0627F54E904E}"/>
              </a:ext>
            </a:extLst>
          </p:cNvPr>
          <p:cNvSpPr/>
          <p:nvPr/>
        </p:nvSpPr>
        <p:spPr>
          <a:xfrm>
            <a:off x="7096748" y="4533760"/>
            <a:ext cx="4086714" cy="741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err="1">
                <a:solidFill>
                  <a:srgbClr val="575757"/>
                </a:solidFill>
              </a:rPr>
              <a:t>Klimastrategie</a:t>
            </a:r>
            <a:r>
              <a:rPr lang="en-US" sz="1200" b="1">
                <a:solidFill>
                  <a:srgbClr val="575757"/>
                </a:solidFill>
              </a:rPr>
              <a:t> 2030</a:t>
            </a:r>
          </a:p>
          <a:p>
            <a:pPr>
              <a:lnSpc>
                <a:spcPct val="150000"/>
              </a:lnSpc>
            </a:pPr>
            <a:r>
              <a:rPr lang="de-DE" sz="1051">
                <a:solidFill>
                  <a:srgbClr val="575757"/>
                </a:solidFill>
              </a:rPr>
              <a:t>Aktiver Beitrag zu den ambitionierten TRUMPF - Emissionszielen </a:t>
            </a:r>
            <a:endParaRPr lang="en-US" sz="1051">
              <a:solidFill>
                <a:srgbClr val="575757"/>
              </a:solidFill>
            </a:endParaRPr>
          </a:p>
          <a:p>
            <a:pPr>
              <a:lnSpc>
                <a:spcPct val="150000"/>
              </a:lnSpc>
            </a:pPr>
            <a:endParaRPr lang="en-US" sz="110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7" name="Group 3">
            <a:extLst>
              <a:ext uri="{FF2B5EF4-FFF2-40B4-BE49-F238E27FC236}">
                <a16:creationId xmlns:a16="http://schemas.microsoft.com/office/drawing/2014/main" id="{C2FDC356-1538-0B26-52F2-DD61E72F543F}"/>
              </a:ext>
            </a:extLst>
          </p:cNvPr>
          <p:cNvGrpSpPr/>
          <p:nvPr/>
        </p:nvGrpSpPr>
        <p:grpSpPr>
          <a:xfrm>
            <a:off x="4632060" y="2408140"/>
            <a:ext cx="2188676" cy="2911008"/>
            <a:chOff x="3559176" y="1734328"/>
            <a:chExt cx="2051853" cy="2729031"/>
          </a:xfrm>
        </p:grpSpPr>
        <p:sp>
          <p:nvSpPr>
            <p:cNvPr id="18" name="フリーフォーム 88">
              <a:extLst>
                <a:ext uri="{FF2B5EF4-FFF2-40B4-BE49-F238E27FC236}">
                  <a16:creationId xmlns:a16="http://schemas.microsoft.com/office/drawing/2014/main" id="{D8304E6A-1EF0-984B-E6F9-E4AB1BCDB3B1}"/>
                </a:ext>
              </a:extLst>
            </p:cNvPr>
            <p:cNvSpPr/>
            <p:nvPr userDrawn="1"/>
          </p:nvSpPr>
          <p:spPr>
            <a:xfrm flipH="1">
              <a:off x="3559176" y="2285999"/>
              <a:ext cx="593381" cy="981091"/>
            </a:xfrm>
            <a:custGeom>
              <a:avLst/>
              <a:gdLst>
                <a:gd name="connsiteX0" fmla="*/ 955911 w 1186761"/>
                <a:gd name="connsiteY0" fmla="*/ 0 h 1961880"/>
                <a:gd name="connsiteX1" fmla="*/ 967744 w 1186761"/>
                <a:gd name="connsiteY1" fmla="*/ 21021 h 1961880"/>
                <a:gd name="connsiteX2" fmla="*/ 1186761 w 1186761"/>
                <a:gd name="connsiteY2" fmla="*/ 944799 h 1961880"/>
                <a:gd name="connsiteX3" fmla="*/ 935168 w 1186761"/>
                <a:gd name="connsiteY3" fmla="*/ 1930146 h 1961880"/>
                <a:gd name="connsiteX4" fmla="*/ 916287 w 1186761"/>
                <a:gd name="connsiteY4" fmla="*/ 1961880 h 1961880"/>
                <a:gd name="connsiteX5" fmla="*/ 0 w 1186761"/>
                <a:gd name="connsiteY5" fmla="*/ 1432861 h 1961880"/>
                <a:gd name="connsiteX6" fmla="*/ 8472 w 1186761"/>
                <a:gd name="connsiteY6" fmla="*/ 1418915 h 1961880"/>
                <a:gd name="connsiteX7" fmla="*/ 128607 w 1186761"/>
                <a:gd name="connsiteY7" fmla="*/ 944466 h 1961880"/>
                <a:gd name="connsiteX8" fmla="*/ 59565 w 1186761"/>
                <a:gd name="connsiteY8" fmla="*/ 579492 h 1961880"/>
                <a:gd name="connsiteX9" fmla="*/ 37489 w 1186761"/>
                <a:gd name="connsiteY9" fmla="*/ 530251 h 196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6761" h="1961880">
                  <a:moveTo>
                    <a:pt x="955911" y="0"/>
                  </a:moveTo>
                  <a:lnTo>
                    <a:pt x="967744" y="21021"/>
                  </a:lnTo>
                  <a:cubicBezTo>
                    <a:pt x="1107849" y="298703"/>
                    <a:pt x="1186761" y="612536"/>
                    <a:pt x="1186761" y="944799"/>
                  </a:cubicBezTo>
                  <a:cubicBezTo>
                    <a:pt x="1186761" y="1301938"/>
                    <a:pt x="1095592" y="1637782"/>
                    <a:pt x="935168" y="1930146"/>
                  </a:cubicBezTo>
                  <a:lnTo>
                    <a:pt x="916287" y="1961880"/>
                  </a:lnTo>
                  <a:lnTo>
                    <a:pt x="0" y="1432861"/>
                  </a:lnTo>
                  <a:lnTo>
                    <a:pt x="8472" y="1418915"/>
                  </a:lnTo>
                  <a:cubicBezTo>
                    <a:pt x="85088" y="1277879"/>
                    <a:pt x="128607" y="1116255"/>
                    <a:pt x="128607" y="944466"/>
                  </a:cubicBezTo>
                  <a:cubicBezTo>
                    <a:pt x="128607" y="815625"/>
                    <a:pt x="104127" y="692501"/>
                    <a:pt x="59565" y="579492"/>
                  </a:cubicBezTo>
                  <a:lnTo>
                    <a:pt x="37489" y="53025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kumimoji="1" lang="ja-JP" altLang="en-US" sz="900"/>
            </a:p>
          </p:txBody>
        </p:sp>
        <p:sp>
          <p:nvSpPr>
            <p:cNvPr id="19" name="フリーフォーム 75">
              <a:extLst>
                <a:ext uri="{FF2B5EF4-FFF2-40B4-BE49-F238E27FC236}">
                  <a16:creationId xmlns:a16="http://schemas.microsoft.com/office/drawing/2014/main" id="{4532E300-DFCE-8BC7-9E64-AD1CE8789A7B}"/>
                </a:ext>
              </a:extLst>
            </p:cNvPr>
            <p:cNvSpPr/>
            <p:nvPr userDrawn="1"/>
          </p:nvSpPr>
          <p:spPr>
            <a:xfrm>
              <a:off x="4595550" y="1734660"/>
              <a:ext cx="888689" cy="798271"/>
            </a:xfrm>
            <a:custGeom>
              <a:avLst/>
              <a:gdLst>
                <a:gd name="connsiteX0" fmla="*/ 0 w 1777378"/>
                <a:gd name="connsiteY0" fmla="*/ 0 h 1596296"/>
                <a:gd name="connsiteX1" fmla="*/ 187100 w 1777378"/>
                <a:gd name="connsiteY1" fmla="*/ 9447 h 1596296"/>
                <a:gd name="connsiteX2" fmla="*/ 1720375 w 1777378"/>
                <a:gd name="connsiteY2" fmla="*/ 966454 h 1596296"/>
                <a:gd name="connsiteX3" fmla="*/ 1777378 w 1777378"/>
                <a:gd name="connsiteY3" fmla="*/ 1067720 h 1596296"/>
                <a:gd name="connsiteX4" fmla="*/ 861857 w 1777378"/>
                <a:gd name="connsiteY4" fmla="*/ 1596296 h 1596296"/>
                <a:gd name="connsiteX5" fmla="*/ 822105 w 1777378"/>
                <a:gd name="connsiteY5" fmla="*/ 1525677 h 1596296"/>
                <a:gd name="connsiteX6" fmla="*/ 78909 w 1777378"/>
                <a:gd name="connsiteY6" fmla="*/ 1061805 h 1596296"/>
                <a:gd name="connsiteX7" fmla="*/ 0 w 1777378"/>
                <a:gd name="connsiteY7" fmla="*/ 1057821 h 1596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7378" h="1596296">
                  <a:moveTo>
                    <a:pt x="0" y="0"/>
                  </a:moveTo>
                  <a:lnTo>
                    <a:pt x="187100" y="9447"/>
                  </a:lnTo>
                  <a:cubicBezTo>
                    <a:pt x="834286" y="75173"/>
                    <a:pt x="1392628" y="441426"/>
                    <a:pt x="1720375" y="966454"/>
                  </a:cubicBezTo>
                  <a:lnTo>
                    <a:pt x="1777378" y="1067720"/>
                  </a:lnTo>
                  <a:lnTo>
                    <a:pt x="861857" y="1596296"/>
                  </a:lnTo>
                  <a:lnTo>
                    <a:pt x="822105" y="1525677"/>
                  </a:lnTo>
                  <a:cubicBezTo>
                    <a:pt x="663243" y="1271190"/>
                    <a:pt x="392608" y="1093663"/>
                    <a:pt x="78909" y="1061805"/>
                  </a:cubicBezTo>
                  <a:lnTo>
                    <a:pt x="0" y="105782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kumimoji="1" lang="ja-JP" altLang="en-US" sz="900"/>
            </a:p>
          </p:txBody>
        </p:sp>
        <p:sp>
          <p:nvSpPr>
            <p:cNvPr id="20" name="フリーフォーム 84">
              <a:extLst>
                <a:ext uri="{FF2B5EF4-FFF2-40B4-BE49-F238E27FC236}">
                  <a16:creationId xmlns:a16="http://schemas.microsoft.com/office/drawing/2014/main" id="{C7462677-C5DE-5BC2-0EDB-15F1ED80E793}"/>
                </a:ext>
              </a:extLst>
            </p:cNvPr>
            <p:cNvSpPr/>
            <p:nvPr userDrawn="1"/>
          </p:nvSpPr>
          <p:spPr>
            <a:xfrm>
              <a:off x="5017648" y="2286333"/>
              <a:ext cx="593381" cy="981091"/>
            </a:xfrm>
            <a:custGeom>
              <a:avLst/>
              <a:gdLst>
                <a:gd name="connsiteX0" fmla="*/ 955911 w 1186761"/>
                <a:gd name="connsiteY0" fmla="*/ 0 h 1961880"/>
                <a:gd name="connsiteX1" fmla="*/ 967744 w 1186761"/>
                <a:gd name="connsiteY1" fmla="*/ 21021 h 1961880"/>
                <a:gd name="connsiteX2" fmla="*/ 1186761 w 1186761"/>
                <a:gd name="connsiteY2" fmla="*/ 944799 h 1961880"/>
                <a:gd name="connsiteX3" fmla="*/ 935168 w 1186761"/>
                <a:gd name="connsiteY3" fmla="*/ 1930146 h 1961880"/>
                <a:gd name="connsiteX4" fmla="*/ 916287 w 1186761"/>
                <a:gd name="connsiteY4" fmla="*/ 1961880 h 1961880"/>
                <a:gd name="connsiteX5" fmla="*/ 0 w 1186761"/>
                <a:gd name="connsiteY5" fmla="*/ 1432861 h 1961880"/>
                <a:gd name="connsiteX6" fmla="*/ 8472 w 1186761"/>
                <a:gd name="connsiteY6" fmla="*/ 1418915 h 1961880"/>
                <a:gd name="connsiteX7" fmla="*/ 128607 w 1186761"/>
                <a:gd name="connsiteY7" fmla="*/ 944466 h 1961880"/>
                <a:gd name="connsiteX8" fmla="*/ 59565 w 1186761"/>
                <a:gd name="connsiteY8" fmla="*/ 579492 h 1961880"/>
                <a:gd name="connsiteX9" fmla="*/ 37489 w 1186761"/>
                <a:gd name="connsiteY9" fmla="*/ 530251 h 1961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6761" h="1961880">
                  <a:moveTo>
                    <a:pt x="955911" y="0"/>
                  </a:moveTo>
                  <a:lnTo>
                    <a:pt x="967744" y="21021"/>
                  </a:lnTo>
                  <a:cubicBezTo>
                    <a:pt x="1107849" y="298703"/>
                    <a:pt x="1186761" y="612536"/>
                    <a:pt x="1186761" y="944799"/>
                  </a:cubicBezTo>
                  <a:cubicBezTo>
                    <a:pt x="1186761" y="1301938"/>
                    <a:pt x="1095592" y="1637782"/>
                    <a:pt x="935168" y="1930146"/>
                  </a:cubicBezTo>
                  <a:lnTo>
                    <a:pt x="916287" y="1961880"/>
                  </a:lnTo>
                  <a:lnTo>
                    <a:pt x="0" y="1432861"/>
                  </a:lnTo>
                  <a:lnTo>
                    <a:pt x="8472" y="1418915"/>
                  </a:lnTo>
                  <a:cubicBezTo>
                    <a:pt x="85088" y="1277879"/>
                    <a:pt x="128607" y="1116255"/>
                    <a:pt x="128607" y="944466"/>
                  </a:cubicBezTo>
                  <a:cubicBezTo>
                    <a:pt x="128607" y="815625"/>
                    <a:pt x="104127" y="692501"/>
                    <a:pt x="59565" y="579492"/>
                  </a:cubicBezTo>
                  <a:lnTo>
                    <a:pt x="37489" y="530251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kumimoji="1" lang="ja-JP" altLang="en-US" sz="900"/>
            </a:p>
          </p:txBody>
        </p:sp>
        <p:sp>
          <p:nvSpPr>
            <p:cNvPr id="21" name="フリーフォーム 86">
              <a:extLst>
                <a:ext uri="{FF2B5EF4-FFF2-40B4-BE49-F238E27FC236}">
                  <a16:creationId xmlns:a16="http://schemas.microsoft.com/office/drawing/2014/main" id="{77AD8C8F-1323-886B-D9AF-9AC77FF0D04E}"/>
                </a:ext>
              </a:extLst>
            </p:cNvPr>
            <p:cNvSpPr/>
            <p:nvPr userDrawn="1"/>
          </p:nvSpPr>
          <p:spPr>
            <a:xfrm>
              <a:off x="4599359" y="3025279"/>
              <a:ext cx="868403" cy="914379"/>
            </a:xfrm>
            <a:custGeom>
              <a:avLst/>
              <a:gdLst>
                <a:gd name="connsiteX0" fmla="*/ 820151 w 1736803"/>
                <a:gd name="connsiteY0" fmla="*/ 0 h 1828474"/>
                <a:gd name="connsiteX1" fmla="*/ 1736803 w 1736803"/>
                <a:gd name="connsiteY1" fmla="*/ 529229 h 1828474"/>
                <a:gd name="connsiteX2" fmla="*/ 1706134 w 1736803"/>
                <a:gd name="connsiteY2" fmla="*/ 580773 h 1828474"/>
                <a:gd name="connsiteX3" fmla="*/ 863426 w 1736803"/>
                <a:gd name="connsiteY3" fmla="*/ 1323103 h 1828474"/>
                <a:gd name="connsiteX4" fmla="*/ 863426 w 1736803"/>
                <a:gd name="connsiteY4" fmla="*/ 1656254 h 1828474"/>
                <a:gd name="connsiteX5" fmla="*/ 691206 w 1736803"/>
                <a:gd name="connsiteY5" fmla="*/ 1828474 h 1828474"/>
                <a:gd name="connsiteX6" fmla="*/ 0 w 1736803"/>
                <a:gd name="connsiteY6" fmla="*/ 1828474 h 1828474"/>
                <a:gd name="connsiteX7" fmla="*/ 0 w 1736803"/>
                <a:gd name="connsiteY7" fmla="*/ 466443 h 1828474"/>
                <a:gd name="connsiteX8" fmla="*/ 103912 w 1736803"/>
                <a:gd name="connsiteY8" fmla="*/ 459888 h 1828474"/>
                <a:gd name="connsiteX9" fmla="*/ 802510 w 1736803"/>
                <a:gd name="connsiteY9" fmla="*/ 29039 h 182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36803" h="1828474">
                  <a:moveTo>
                    <a:pt x="820151" y="0"/>
                  </a:moveTo>
                  <a:lnTo>
                    <a:pt x="1736803" y="529229"/>
                  </a:lnTo>
                  <a:lnTo>
                    <a:pt x="1706134" y="580773"/>
                  </a:lnTo>
                  <a:cubicBezTo>
                    <a:pt x="1500692" y="900188"/>
                    <a:pt x="1208884" y="1158671"/>
                    <a:pt x="863426" y="1323103"/>
                  </a:cubicBezTo>
                  <a:lnTo>
                    <a:pt x="863426" y="1656254"/>
                  </a:lnTo>
                  <a:cubicBezTo>
                    <a:pt x="863426" y="1751369"/>
                    <a:pt x="786321" y="1828474"/>
                    <a:pt x="691206" y="1828474"/>
                  </a:cubicBezTo>
                  <a:lnTo>
                    <a:pt x="0" y="1828474"/>
                  </a:lnTo>
                  <a:lnTo>
                    <a:pt x="0" y="466443"/>
                  </a:lnTo>
                  <a:lnTo>
                    <a:pt x="103912" y="459888"/>
                  </a:lnTo>
                  <a:cubicBezTo>
                    <a:pt x="394509" y="422949"/>
                    <a:pt x="645995" y="260712"/>
                    <a:pt x="802510" y="29039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kumimoji="1" lang="ja-JP" altLang="en-US" sz="900"/>
            </a:p>
          </p:txBody>
        </p:sp>
        <p:sp>
          <p:nvSpPr>
            <p:cNvPr id="22" name="フリーフォーム 87">
              <a:extLst>
                <a:ext uri="{FF2B5EF4-FFF2-40B4-BE49-F238E27FC236}">
                  <a16:creationId xmlns:a16="http://schemas.microsoft.com/office/drawing/2014/main" id="{9C768A1C-49AE-CE88-5BC6-BCFFB8021118}"/>
                </a:ext>
              </a:extLst>
            </p:cNvPr>
            <p:cNvSpPr/>
            <p:nvPr userDrawn="1"/>
          </p:nvSpPr>
          <p:spPr>
            <a:xfrm flipH="1">
              <a:off x="3685968" y="1734328"/>
              <a:ext cx="888689" cy="798271"/>
            </a:xfrm>
            <a:custGeom>
              <a:avLst/>
              <a:gdLst>
                <a:gd name="connsiteX0" fmla="*/ 0 w 1777378"/>
                <a:gd name="connsiteY0" fmla="*/ 0 h 1596296"/>
                <a:gd name="connsiteX1" fmla="*/ 187100 w 1777378"/>
                <a:gd name="connsiteY1" fmla="*/ 9447 h 1596296"/>
                <a:gd name="connsiteX2" fmla="*/ 1720375 w 1777378"/>
                <a:gd name="connsiteY2" fmla="*/ 966454 h 1596296"/>
                <a:gd name="connsiteX3" fmla="*/ 1777378 w 1777378"/>
                <a:gd name="connsiteY3" fmla="*/ 1067720 h 1596296"/>
                <a:gd name="connsiteX4" fmla="*/ 861857 w 1777378"/>
                <a:gd name="connsiteY4" fmla="*/ 1596296 h 1596296"/>
                <a:gd name="connsiteX5" fmla="*/ 822105 w 1777378"/>
                <a:gd name="connsiteY5" fmla="*/ 1525677 h 1596296"/>
                <a:gd name="connsiteX6" fmla="*/ 78909 w 1777378"/>
                <a:gd name="connsiteY6" fmla="*/ 1061805 h 1596296"/>
                <a:gd name="connsiteX7" fmla="*/ 0 w 1777378"/>
                <a:gd name="connsiteY7" fmla="*/ 1057821 h 1596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77378" h="1596296">
                  <a:moveTo>
                    <a:pt x="0" y="0"/>
                  </a:moveTo>
                  <a:lnTo>
                    <a:pt x="187100" y="9447"/>
                  </a:lnTo>
                  <a:cubicBezTo>
                    <a:pt x="834286" y="75173"/>
                    <a:pt x="1392628" y="441426"/>
                    <a:pt x="1720375" y="966454"/>
                  </a:cubicBezTo>
                  <a:lnTo>
                    <a:pt x="1777378" y="1067720"/>
                  </a:lnTo>
                  <a:lnTo>
                    <a:pt x="861857" y="1596296"/>
                  </a:lnTo>
                  <a:lnTo>
                    <a:pt x="822105" y="1525677"/>
                  </a:lnTo>
                  <a:cubicBezTo>
                    <a:pt x="663243" y="1271190"/>
                    <a:pt x="392608" y="1093663"/>
                    <a:pt x="78909" y="1061805"/>
                  </a:cubicBezTo>
                  <a:lnTo>
                    <a:pt x="0" y="10578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kumimoji="1" lang="ja-JP" altLang="en-US" sz="900"/>
            </a:p>
          </p:txBody>
        </p:sp>
        <p:sp>
          <p:nvSpPr>
            <p:cNvPr id="23" name="フリーフォーム 89">
              <a:extLst>
                <a:ext uri="{FF2B5EF4-FFF2-40B4-BE49-F238E27FC236}">
                  <a16:creationId xmlns:a16="http://schemas.microsoft.com/office/drawing/2014/main" id="{CB334D49-C135-C34A-A2DA-18305EE54A0A}"/>
                </a:ext>
              </a:extLst>
            </p:cNvPr>
            <p:cNvSpPr/>
            <p:nvPr userDrawn="1"/>
          </p:nvSpPr>
          <p:spPr>
            <a:xfrm flipH="1">
              <a:off x="3702443" y="3024945"/>
              <a:ext cx="868403" cy="914379"/>
            </a:xfrm>
            <a:custGeom>
              <a:avLst/>
              <a:gdLst>
                <a:gd name="connsiteX0" fmla="*/ 820151 w 1736803"/>
                <a:gd name="connsiteY0" fmla="*/ 0 h 1828474"/>
                <a:gd name="connsiteX1" fmla="*/ 1736803 w 1736803"/>
                <a:gd name="connsiteY1" fmla="*/ 529229 h 1828474"/>
                <a:gd name="connsiteX2" fmla="*/ 1706134 w 1736803"/>
                <a:gd name="connsiteY2" fmla="*/ 580773 h 1828474"/>
                <a:gd name="connsiteX3" fmla="*/ 863426 w 1736803"/>
                <a:gd name="connsiteY3" fmla="*/ 1323103 h 1828474"/>
                <a:gd name="connsiteX4" fmla="*/ 863426 w 1736803"/>
                <a:gd name="connsiteY4" fmla="*/ 1656254 h 1828474"/>
                <a:gd name="connsiteX5" fmla="*/ 691206 w 1736803"/>
                <a:gd name="connsiteY5" fmla="*/ 1828474 h 1828474"/>
                <a:gd name="connsiteX6" fmla="*/ 0 w 1736803"/>
                <a:gd name="connsiteY6" fmla="*/ 1828474 h 1828474"/>
                <a:gd name="connsiteX7" fmla="*/ 0 w 1736803"/>
                <a:gd name="connsiteY7" fmla="*/ 466443 h 1828474"/>
                <a:gd name="connsiteX8" fmla="*/ 103912 w 1736803"/>
                <a:gd name="connsiteY8" fmla="*/ 459888 h 1828474"/>
                <a:gd name="connsiteX9" fmla="*/ 802510 w 1736803"/>
                <a:gd name="connsiteY9" fmla="*/ 29039 h 182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36803" h="1828474">
                  <a:moveTo>
                    <a:pt x="820151" y="0"/>
                  </a:moveTo>
                  <a:lnTo>
                    <a:pt x="1736803" y="529229"/>
                  </a:lnTo>
                  <a:lnTo>
                    <a:pt x="1706134" y="580773"/>
                  </a:lnTo>
                  <a:cubicBezTo>
                    <a:pt x="1500692" y="900188"/>
                    <a:pt x="1208884" y="1158671"/>
                    <a:pt x="863426" y="1323103"/>
                  </a:cubicBezTo>
                  <a:lnTo>
                    <a:pt x="863426" y="1656254"/>
                  </a:lnTo>
                  <a:cubicBezTo>
                    <a:pt x="863426" y="1751369"/>
                    <a:pt x="786321" y="1828474"/>
                    <a:pt x="691206" y="1828474"/>
                  </a:cubicBezTo>
                  <a:lnTo>
                    <a:pt x="0" y="1828474"/>
                  </a:lnTo>
                  <a:lnTo>
                    <a:pt x="0" y="466443"/>
                  </a:lnTo>
                  <a:lnTo>
                    <a:pt x="103912" y="459888"/>
                  </a:lnTo>
                  <a:cubicBezTo>
                    <a:pt x="394509" y="422949"/>
                    <a:pt x="645995" y="260712"/>
                    <a:pt x="802510" y="2903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kumimoji="1" lang="ja-JP" altLang="en-US" sz="900"/>
            </a:p>
          </p:txBody>
        </p:sp>
        <p:grpSp>
          <p:nvGrpSpPr>
            <p:cNvPr id="24" name="Group 1">
              <a:extLst>
                <a:ext uri="{FF2B5EF4-FFF2-40B4-BE49-F238E27FC236}">
                  <a16:creationId xmlns:a16="http://schemas.microsoft.com/office/drawing/2014/main" id="{97675F96-02E5-02AF-FB1D-15B8029FE188}"/>
                </a:ext>
              </a:extLst>
            </p:cNvPr>
            <p:cNvGrpSpPr/>
            <p:nvPr/>
          </p:nvGrpSpPr>
          <p:grpSpPr>
            <a:xfrm>
              <a:off x="4144786" y="3940611"/>
              <a:ext cx="886287" cy="522748"/>
              <a:chOff x="4144786" y="3940611"/>
              <a:chExt cx="886287" cy="522748"/>
            </a:xfrm>
          </p:grpSpPr>
          <p:sp>
            <p:nvSpPr>
              <p:cNvPr id="38" name="円/楕円 7">
                <a:extLst>
                  <a:ext uri="{FF2B5EF4-FFF2-40B4-BE49-F238E27FC236}">
                    <a16:creationId xmlns:a16="http://schemas.microsoft.com/office/drawing/2014/main" id="{DC19B756-AB2A-F451-FF30-5951749C692B}"/>
                  </a:ext>
                </a:extLst>
              </p:cNvPr>
              <p:cNvSpPr/>
              <p:nvPr userDrawn="1"/>
            </p:nvSpPr>
            <p:spPr>
              <a:xfrm>
                <a:off x="4358983" y="4270563"/>
                <a:ext cx="453904" cy="192796"/>
              </a:xfrm>
              <a:custGeom>
                <a:avLst/>
                <a:gdLst/>
                <a:ahLst/>
                <a:cxnLst/>
                <a:rect l="l" t="t" r="r" b="b"/>
                <a:pathLst>
                  <a:path w="758714" h="322215">
                    <a:moveTo>
                      <a:pt x="0" y="0"/>
                    </a:moveTo>
                    <a:lnTo>
                      <a:pt x="758714" y="0"/>
                    </a:lnTo>
                    <a:cubicBezTo>
                      <a:pt x="729497" y="182913"/>
                      <a:pt x="570695" y="322215"/>
                      <a:pt x="379357" y="322215"/>
                    </a:cubicBezTo>
                    <a:cubicBezTo>
                      <a:pt x="188019" y="322215"/>
                      <a:pt x="29217" y="182913"/>
                      <a:pt x="0" y="0"/>
                    </a:cubicBezTo>
                    <a:close/>
                  </a:path>
                </a:pathLst>
              </a:custGeom>
              <a:solidFill>
                <a:schemeClr val="tx1">
                  <a:lumMod val="10000"/>
                  <a:lumOff val="9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900"/>
              </a:p>
            </p:txBody>
          </p:sp>
          <p:sp>
            <p:nvSpPr>
              <p:cNvPr id="39" name="角丸四角形 51">
                <a:extLst>
                  <a:ext uri="{FF2B5EF4-FFF2-40B4-BE49-F238E27FC236}">
                    <a16:creationId xmlns:a16="http://schemas.microsoft.com/office/drawing/2014/main" id="{6E801A7A-EFF9-E2E2-1BB2-B5423BFD1328}"/>
                  </a:ext>
                </a:extLst>
              </p:cNvPr>
              <p:cNvSpPr/>
              <p:nvPr/>
            </p:nvSpPr>
            <p:spPr>
              <a:xfrm>
                <a:off x="4144786" y="4158120"/>
                <a:ext cx="886287" cy="104823"/>
              </a:xfrm>
              <a:prstGeom prst="roundRect">
                <a:avLst>
                  <a:gd name="adj" fmla="val 50000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900"/>
              </a:p>
            </p:txBody>
          </p:sp>
          <p:sp>
            <p:nvSpPr>
              <p:cNvPr id="40" name="角丸四角形 51">
                <a:extLst>
                  <a:ext uri="{FF2B5EF4-FFF2-40B4-BE49-F238E27FC236}">
                    <a16:creationId xmlns:a16="http://schemas.microsoft.com/office/drawing/2014/main" id="{D9D88700-CAB4-405E-C05D-D681315B77B3}"/>
                  </a:ext>
                </a:extLst>
              </p:cNvPr>
              <p:cNvSpPr/>
              <p:nvPr/>
            </p:nvSpPr>
            <p:spPr>
              <a:xfrm>
                <a:off x="4144786" y="4049365"/>
                <a:ext cx="886287" cy="104823"/>
              </a:xfrm>
              <a:prstGeom prst="roundRect">
                <a:avLst>
                  <a:gd name="adj" fmla="val 50000"/>
                </a:avLst>
              </a:prstGeom>
              <a:solidFill>
                <a:schemeClr val="tx1">
                  <a:lumMod val="10000"/>
                  <a:lumOff val="9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900"/>
              </a:p>
            </p:txBody>
          </p:sp>
          <p:sp>
            <p:nvSpPr>
              <p:cNvPr id="41" name="角丸四角形 51">
                <a:extLst>
                  <a:ext uri="{FF2B5EF4-FFF2-40B4-BE49-F238E27FC236}">
                    <a16:creationId xmlns:a16="http://schemas.microsoft.com/office/drawing/2014/main" id="{69C9B2B5-5DED-1E91-5DE5-CB2E099813DE}"/>
                  </a:ext>
                </a:extLst>
              </p:cNvPr>
              <p:cNvSpPr/>
              <p:nvPr/>
            </p:nvSpPr>
            <p:spPr>
              <a:xfrm>
                <a:off x="4144786" y="3940611"/>
                <a:ext cx="886287" cy="104823"/>
              </a:xfrm>
              <a:prstGeom prst="roundRect">
                <a:avLst>
                  <a:gd name="adj" fmla="val 50000"/>
                </a:avLst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900"/>
              </a:p>
            </p:txBody>
          </p:sp>
        </p:grpSp>
      </p:grpSp>
      <p:sp>
        <p:nvSpPr>
          <p:cNvPr id="67" name="Freeform 126">
            <a:extLst>
              <a:ext uri="{FF2B5EF4-FFF2-40B4-BE49-F238E27FC236}">
                <a16:creationId xmlns:a16="http://schemas.microsoft.com/office/drawing/2014/main" id="{FE12A53F-189B-30A4-84D7-53BEE9BD13B6}"/>
              </a:ext>
            </a:extLst>
          </p:cNvPr>
          <p:cNvSpPr>
            <a:spLocks/>
          </p:cNvSpPr>
          <p:nvPr/>
        </p:nvSpPr>
        <p:spPr bwMode="auto">
          <a:xfrm>
            <a:off x="5968095" y="4043109"/>
            <a:ext cx="280382" cy="386001"/>
          </a:xfrm>
          <a:custGeom>
            <a:avLst/>
            <a:gdLst/>
            <a:ahLst/>
            <a:cxnLst>
              <a:cxn ang="0">
                <a:pos x="25" y="46"/>
              </a:cxn>
              <a:cxn ang="0">
                <a:pos x="1" y="64"/>
              </a:cxn>
              <a:cxn ang="0">
                <a:pos x="0" y="62"/>
              </a:cxn>
              <a:cxn ang="0">
                <a:pos x="1" y="61"/>
              </a:cxn>
              <a:cxn ang="0">
                <a:pos x="22" y="46"/>
              </a:cxn>
              <a:cxn ang="0">
                <a:pos x="1" y="36"/>
              </a:cxn>
              <a:cxn ang="0">
                <a:pos x="24" y="41"/>
              </a:cxn>
              <a:cxn ang="0">
                <a:pos x="27" y="31"/>
              </a:cxn>
              <a:cxn ang="0">
                <a:pos x="7" y="18"/>
              </a:cxn>
              <a:cxn ang="0">
                <a:pos x="27" y="28"/>
              </a:cxn>
              <a:cxn ang="0">
                <a:pos x="28" y="21"/>
              </a:cxn>
              <a:cxn ang="0">
                <a:pos x="23" y="0"/>
              </a:cxn>
              <a:cxn ang="0">
                <a:pos x="31" y="21"/>
              </a:cxn>
              <a:cxn ang="0">
                <a:pos x="31" y="25"/>
              </a:cxn>
              <a:cxn ang="0">
                <a:pos x="48" y="18"/>
              </a:cxn>
              <a:cxn ang="0">
                <a:pos x="30" y="32"/>
              </a:cxn>
              <a:cxn ang="0">
                <a:pos x="27" y="42"/>
              </a:cxn>
              <a:cxn ang="0">
                <a:pos x="50" y="39"/>
              </a:cxn>
              <a:cxn ang="0">
                <a:pos x="25" y="46"/>
              </a:cxn>
            </a:cxnLst>
            <a:rect l="0" t="0" r="r" b="b"/>
            <a:pathLst>
              <a:path w="50" h="64">
                <a:moveTo>
                  <a:pt x="25" y="46"/>
                </a:moveTo>
                <a:cubicBezTo>
                  <a:pt x="20" y="57"/>
                  <a:pt x="11" y="64"/>
                  <a:pt x="1" y="64"/>
                </a:cubicBezTo>
                <a:cubicBezTo>
                  <a:pt x="0" y="64"/>
                  <a:pt x="0" y="63"/>
                  <a:pt x="0" y="62"/>
                </a:cubicBezTo>
                <a:cubicBezTo>
                  <a:pt x="0" y="61"/>
                  <a:pt x="0" y="61"/>
                  <a:pt x="1" y="61"/>
                </a:cubicBezTo>
                <a:cubicBezTo>
                  <a:pt x="10" y="61"/>
                  <a:pt x="17" y="55"/>
                  <a:pt x="22" y="46"/>
                </a:cubicBezTo>
                <a:cubicBezTo>
                  <a:pt x="17" y="48"/>
                  <a:pt x="6" y="50"/>
                  <a:pt x="1" y="36"/>
                </a:cubicBezTo>
                <a:cubicBezTo>
                  <a:pt x="15" y="30"/>
                  <a:pt x="22" y="37"/>
                  <a:pt x="24" y="41"/>
                </a:cubicBezTo>
                <a:cubicBezTo>
                  <a:pt x="25" y="38"/>
                  <a:pt x="26" y="35"/>
                  <a:pt x="27" y="31"/>
                </a:cubicBezTo>
                <a:cubicBezTo>
                  <a:pt x="27" y="31"/>
                  <a:pt x="9" y="34"/>
                  <a:pt x="7" y="18"/>
                </a:cubicBezTo>
                <a:cubicBezTo>
                  <a:pt x="23" y="12"/>
                  <a:pt x="27" y="28"/>
                  <a:pt x="27" y="28"/>
                </a:cubicBezTo>
                <a:cubicBezTo>
                  <a:pt x="27" y="26"/>
                  <a:pt x="28" y="21"/>
                  <a:pt x="28" y="21"/>
                </a:cubicBezTo>
                <a:cubicBezTo>
                  <a:pt x="28" y="21"/>
                  <a:pt x="14" y="12"/>
                  <a:pt x="23" y="0"/>
                </a:cubicBezTo>
                <a:cubicBezTo>
                  <a:pt x="39" y="5"/>
                  <a:pt x="31" y="21"/>
                  <a:pt x="31" y="21"/>
                </a:cubicBezTo>
                <a:cubicBezTo>
                  <a:pt x="31" y="21"/>
                  <a:pt x="31" y="24"/>
                  <a:pt x="31" y="25"/>
                </a:cubicBezTo>
                <a:cubicBezTo>
                  <a:pt x="31" y="25"/>
                  <a:pt x="37" y="14"/>
                  <a:pt x="48" y="18"/>
                </a:cubicBezTo>
                <a:cubicBezTo>
                  <a:pt x="48" y="35"/>
                  <a:pt x="30" y="32"/>
                  <a:pt x="30" y="32"/>
                </a:cubicBezTo>
                <a:cubicBezTo>
                  <a:pt x="29" y="35"/>
                  <a:pt x="29" y="39"/>
                  <a:pt x="27" y="42"/>
                </a:cubicBezTo>
                <a:cubicBezTo>
                  <a:pt x="27" y="42"/>
                  <a:pt x="38" y="30"/>
                  <a:pt x="50" y="39"/>
                </a:cubicBezTo>
                <a:cubicBezTo>
                  <a:pt x="43" y="57"/>
                  <a:pt x="25" y="46"/>
                  <a:pt x="25" y="4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E9707F9C-8073-4045-7058-6E5B0E749083}"/>
              </a:ext>
            </a:extLst>
          </p:cNvPr>
          <p:cNvSpPr/>
          <p:nvPr/>
        </p:nvSpPr>
        <p:spPr>
          <a:xfrm>
            <a:off x="5310601" y="3085796"/>
            <a:ext cx="831594" cy="85150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900" b="1"/>
              <a:t>Smart Factory</a:t>
            </a:r>
          </a:p>
        </p:txBody>
      </p:sp>
      <p:grpSp>
        <p:nvGrpSpPr>
          <p:cNvPr id="26" name="Group 225">
            <a:extLst>
              <a:ext uri="{FF2B5EF4-FFF2-40B4-BE49-F238E27FC236}">
                <a16:creationId xmlns:a16="http://schemas.microsoft.com/office/drawing/2014/main" id="{F7E82B38-C47B-3FDB-E1E0-1C14D962C6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315349" y="3330940"/>
            <a:ext cx="377825" cy="377825"/>
            <a:chOff x="2632" y="3928"/>
            <a:chExt cx="238" cy="238"/>
          </a:xfrm>
          <a:solidFill>
            <a:schemeClr val="bg1"/>
          </a:solidFill>
        </p:grpSpPr>
        <p:sp>
          <p:nvSpPr>
            <p:cNvPr id="27" name="Freeform 227">
              <a:extLst>
                <a:ext uri="{FF2B5EF4-FFF2-40B4-BE49-F238E27FC236}">
                  <a16:creationId xmlns:a16="http://schemas.microsoft.com/office/drawing/2014/main" id="{C13535D2-32DD-036E-EC10-628F54CF5F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2" y="3928"/>
              <a:ext cx="238" cy="238"/>
            </a:xfrm>
            <a:custGeom>
              <a:avLst/>
              <a:gdLst>
                <a:gd name="T0" fmla="*/ 1369 w 3331"/>
                <a:gd name="T1" fmla="*/ 777 h 3335"/>
                <a:gd name="T2" fmla="*/ 1056 w 3331"/>
                <a:gd name="T3" fmla="*/ 955 h 3335"/>
                <a:gd name="T4" fmla="*/ 832 w 3331"/>
                <a:gd name="T5" fmla="*/ 1236 h 3335"/>
                <a:gd name="T6" fmla="*/ 731 w 3331"/>
                <a:gd name="T7" fmla="*/ 1590 h 3335"/>
                <a:gd name="T8" fmla="*/ 776 w 3331"/>
                <a:gd name="T9" fmla="*/ 1963 h 3335"/>
                <a:gd name="T10" fmla="*/ 954 w 3331"/>
                <a:gd name="T11" fmla="*/ 2277 h 3335"/>
                <a:gd name="T12" fmla="*/ 1235 w 3331"/>
                <a:gd name="T13" fmla="*/ 2500 h 3335"/>
                <a:gd name="T14" fmla="*/ 1589 w 3331"/>
                <a:gd name="T15" fmla="*/ 2603 h 3335"/>
                <a:gd name="T16" fmla="*/ 1961 w 3331"/>
                <a:gd name="T17" fmla="*/ 2558 h 3335"/>
                <a:gd name="T18" fmla="*/ 2275 w 3331"/>
                <a:gd name="T19" fmla="*/ 2380 h 3335"/>
                <a:gd name="T20" fmla="*/ 2498 w 3331"/>
                <a:gd name="T21" fmla="*/ 2098 h 3335"/>
                <a:gd name="T22" fmla="*/ 2599 w 3331"/>
                <a:gd name="T23" fmla="*/ 1744 h 3335"/>
                <a:gd name="T24" fmla="*/ 2554 w 3331"/>
                <a:gd name="T25" fmla="*/ 1371 h 3335"/>
                <a:gd name="T26" fmla="*/ 2376 w 3331"/>
                <a:gd name="T27" fmla="*/ 1057 h 3335"/>
                <a:gd name="T28" fmla="*/ 2096 w 3331"/>
                <a:gd name="T29" fmla="*/ 834 h 3335"/>
                <a:gd name="T30" fmla="*/ 1741 w 3331"/>
                <a:gd name="T31" fmla="*/ 731 h 3335"/>
                <a:gd name="T32" fmla="*/ 1863 w 3331"/>
                <a:gd name="T33" fmla="*/ 11 h 3335"/>
                <a:gd name="T34" fmla="*/ 1924 w 3331"/>
                <a:gd name="T35" fmla="*/ 110 h 3335"/>
                <a:gd name="T36" fmla="*/ 2256 w 3331"/>
                <a:gd name="T37" fmla="*/ 472 h 3335"/>
                <a:gd name="T38" fmla="*/ 2617 w 3331"/>
                <a:gd name="T39" fmla="*/ 358 h 3335"/>
                <a:gd name="T40" fmla="*/ 2719 w 3331"/>
                <a:gd name="T41" fmla="*/ 368 h 3335"/>
                <a:gd name="T42" fmla="*/ 2978 w 3331"/>
                <a:gd name="T43" fmla="*/ 650 h 3335"/>
                <a:gd name="T44" fmla="*/ 2948 w 3331"/>
                <a:gd name="T45" fmla="*/ 749 h 3335"/>
                <a:gd name="T46" fmla="*/ 2926 w 3331"/>
                <a:gd name="T47" fmla="*/ 1236 h 3335"/>
                <a:gd name="T48" fmla="*/ 3268 w 3331"/>
                <a:gd name="T49" fmla="*/ 1419 h 3335"/>
                <a:gd name="T50" fmla="*/ 3331 w 3331"/>
                <a:gd name="T51" fmla="*/ 1517 h 3335"/>
                <a:gd name="T52" fmla="*/ 3289 w 3331"/>
                <a:gd name="T53" fmla="*/ 1902 h 3335"/>
                <a:gd name="T54" fmla="*/ 2952 w 3331"/>
                <a:gd name="T55" fmla="*/ 2013 h 3335"/>
                <a:gd name="T56" fmla="*/ 2773 w 3331"/>
                <a:gd name="T57" fmla="*/ 2408 h 3335"/>
                <a:gd name="T58" fmla="*/ 2981 w 3331"/>
                <a:gd name="T59" fmla="*/ 2662 h 3335"/>
                <a:gd name="T60" fmla="*/ 2737 w 3331"/>
                <a:gd name="T61" fmla="*/ 2952 h 3335"/>
                <a:gd name="T62" fmla="*/ 2638 w 3331"/>
                <a:gd name="T63" fmla="*/ 2982 h 3335"/>
                <a:gd name="T64" fmla="*/ 2333 w 3331"/>
                <a:gd name="T65" fmla="*/ 2822 h 3335"/>
                <a:gd name="T66" fmla="*/ 1925 w 3331"/>
                <a:gd name="T67" fmla="*/ 2975 h 3335"/>
                <a:gd name="T68" fmla="*/ 1883 w 3331"/>
                <a:gd name="T69" fmla="*/ 3311 h 3335"/>
                <a:gd name="T70" fmla="*/ 1491 w 3331"/>
                <a:gd name="T71" fmla="*/ 3332 h 3335"/>
                <a:gd name="T72" fmla="*/ 1409 w 3331"/>
                <a:gd name="T73" fmla="*/ 3250 h 3335"/>
                <a:gd name="T74" fmla="*/ 1153 w 3331"/>
                <a:gd name="T75" fmla="*/ 2899 h 3335"/>
                <a:gd name="T76" fmla="*/ 732 w 3331"/>
                <a:gd name="T77" fmla="*/ 2966 h 3335"/>
                <a:gd name="T78" fmla="*/ 630 w 3331"/>
                <a:gd name="T79" fmla="*/ 2976 h 3335"/>
                <a:gd name="T80" fmla="*/ 358 w 3331"/>
                <a:gd name="T81" fmla="*/ 2703 h 3335"/>
                <a:gd name="T82" fmla="*/ 369 w 3331"/>
                <a:gd name="T83" fmla="*/ 2602 h 3335"/>
                <a:gd name="T84" fmla="*/ 435 w 3331"/>
                <a:gd name="T85" fmla="*/ 2179 h 3335"/>
                <a:gd name="T86" fmla="*/ 85 w 3331"/>
                <a:gd name="T87" fmla="*/ 1923 h 3335"/>
                <a:gd name="T88" fmla="*/ 3 w 3331"/>
                <a:gd name="T89" fmla="*/ 1841 h 3335"/>
                <a:gd name="T90" fmla="*/ 24 w 3331"/>
                <a:gd name="T91" fmla="*/ 1448 h 3335"/>
                <a:gd name="T92" fmla="*/ 359 w 3331"/>
                <a:gd name="T93" fmla="*/ 1407 h 3335"/>
                <a:gd name="T94" fmla="*/ 512 w 3331"/>
                <a:gd name="T95" fmla="*/ 999 h 3335"/>
                <a:gd name="T96" fmla="*/ 352 w 3331"/>
                <a:gd name="T97" fmla="*/ 693 h 3335"/>
                <a:gd name="T98" fmla="*/ 383 w 3331"/>
                <a:gd name="T99" fmla="*/ 593 h 3335"/>
                <a:gd name="T100" fmla="*/ 671 w 3331"/>
                <a:gd name="T101" fmla="*/ 350 h 3335"/>
                <a:gd name="T102" fmla="*/ 924 w 3331"/>
                <a:gd name="T103" fmla="*/ 559 h 3335"/>
                <a:gd name="T104" fmla="*/ 1319 w 3331"/>
                <a:gd name="T105" fmla="*/ 379 h 3335"/>
                <a:gd name="T106" fmla="*/ 1430 w 3331"/>
                <a:gd name="T107" fmla="*/ 41 h 3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31" h="3335">
                  <a:moveTo>
                    <a:pt x="1665" y="728"/>
                  </a:moveTo>
                  <a:lnTo>
                    <a:pt x="1589" y="731"/>
                  </a:lnTo>
                  <a:lnTo>
                    <a:pt x="1514" y="741"/>
                  </a:lnTo>
                  <a:lnTo>
                    <a:pt x="1440" y="755"/>
                  </a:lnTo>
                  <a:lnTo>
                    <a:pt x="1369" y="777"/>
                  </a:lnTo>
                  <a:lnTo>
                    <a:pt x="1301" y="802"/>
                  </a:lnTo>
                  <a:lnTo>
                    <a:pt x="1235" y="834"/>
                  </a:lnTo>
                  <a:lnTo>
                    <a:pt x="1171" y="869"/>
                  </a:lnTo>
                  <a:lnTo>
                    <a:pt x="1112" y="910"/>
                  </a:lnTo>
                  <a:lnTo>
                    <a:pt x="1056" y="955"/>
                  </a:lnTo>
                  <a:lnTo>
                    <a:pt x="1002" y="1004"/>
                  </a:lnTo>
                  <a:lnTo>
                    <a:pt x="954" y="1057"/>
                  </a:lnTo>
                  <a:lnTo>
                    <a:pt x="909" y="1113"/>
                  </a:lnTo>
                  <a:lnTo>
                    <a:pt x="869" y="1173"/>
                  </a:lnTo>
                  <a:lnTo>
                    <a:pt x="832" y="1236"/>
                  </a:lnTo>
                  <a:lnTo>
                    <a:pt x="802" y="1302"/>
                  </a:lnTo>
                  <a:lnTo>
                    <a:pt x="776" y="1371"/>
                  </a:lnTo>
                  <a:lnTo>
                    <a:pt x="755" y="1442"/>
                  </a:lnTo>
                  <a:lnTo>
                    <a:pt x="740" y="1515"/>
                  </a:lnTo>
                  <a:lnTo>
                    <a:pt x="731" y="1590"/>
                  </a:lnTo>
                  <a:lnTo>
                    <a:pt x="728" y="1667"/>
                  </a:lnTo>
                  <a:lnTo>
                    <a:pt x="731" y="1744"/>
                  </a:lnTo>
                  <a:lnTo>
                    <a:pt x="740" y="1819"/>
                  </a:lnTo>
                  <a:lnTo>
                    <a:pt x="755" y="1892"/>
                  </a:lnTo>
                  <a:lnTo>
                    <a:pt x="776" y="1963"/>
                  </a:lnTo>
                  <a:lnTo>
                    <a:pt x="802" y="2032"/>
                  </a:lnTo>
                  <a:lnTo>
                    <a:pt x="832" y="2098"/>
                  </a:lnTo>
                  <a:lnTo>
                    <a:pt x="869" y="2161"/>
                  </a:lnTo>
                  <a:lnTo>
                    <a:pt x="909" y="2221"/>
                  </a:lnTo>
                  <a:lnTo>
                    <a:pt x="954" y="2277"/>
                  </a:lnTo>
                  <a:lnTo>
                    <a:pt x="1002" y="2330"/>
                  </a:lnTo>
                  <a:lnTo>
                    <a:pt x="1056" y="2380"/>
                  </a:lnTo>
                  <a:lnTo>
                    <a:pt x="1112" y="2424"/>
                  </a:lnTo>
                  <a:lnTo>
                    <a:pt x="1171" y="2465"/>
                  </a:lnTo>
                  <a:lnTo>
                    <a:pt x="1235" y="2500"/>
                  </a:lnTo>
                  <a:lnTo>
                    <a:pt x="1301" y="2532"/>
                  </a:lnTo>
                  <a:lnTo>
                    <a:pt x="1369" y="2558"/>
                  </a:lnTo>
                  <a:lnTo>
                    <a:pt x="1440" y="2578"/>
                  </a:lnTo>
                  <a:lnTo>
                    <a:pt x="1514" y="2594"/>
                  </a:lnTo>
                  <a:lnTo>
                    <a:pt x="1589" y="2603"/>
                  </a:lnTo>
                  <a:lnTo>
                    <a:pt x="1665" y="2606"/>
                  </a:lnTo>
                  <a:lnTo>
                    <a:pt x="1741" y="2603"/>
                  </a:lnTo>
                  <a:lnTo>
                    <a:pt x="1817" y="2594"/>
                  </a:lnTo>
                  <a:lnTo>
                    <a:pt x="1890" y="2578"/>
                  </a:lnTo>
                  <a:lnTo>
                    <a:pt x="1961" y="2558"/>
                  </a:lnTo>
                  <a:lnTo>
                    <a:pt x="2030" y="2532"/>
                  </a:lnTo>
                  <a:lnTo>
                    <a:pt x="2096" y="2500"/>
                  </a:lnTo>
                  <a:lnTo>
                    <a:pt x="2159" y="2465"/>
                  </a:lnTo>
                  <a:lnTo>
                    <a:pt x="2218" y="2424"/>
                  </a:lnTo>
                  <a:lnTo>
                    <a:pt x="2275" y="2380"/>
                  </a:lnTo>
                  <a:lnTo>
                    <a:pt x="2328" y="2330"/>
                  </a:lnTo>
                  <a:lnTo>
                    <a:pt x="2376" y="2277"/>
                  </a:lnTo>
                  <a:lnTo>
                    <a:pt x="2421" y="2221"/>
                  </a:lnTo>
                  <a:lnTo>
                    <a:pt x="2461" y="2161"/>
                  </a:lnTo>
                  <a:lnTo>
                    <a:pt x="2498" y="2098"/>
                  </a:lnTo>
                  <a:lnTo>
                    <a:pt x="2528" y="2032"/>
                  </a:lnTo>
                  <a:lnTo>
                    <a:pt x="2554" y="1963"/>
                  </a:lnTo>
                  <a:lnTo>
                    <a:pt x="2575" y="1892"/>
                  </a:lnTo>
                  <a:lnTo>
                    <a:pt x="2590" y="1819"/>
                  </a:lnTo>
                  <a:lnTo>
                    <a:pt x="2599" y="1744"/>
                  </a:lnTo>
                  <a:lnTo>
                    <a:pt x="2602" y="1667"/>
                  </a:lnTo>
                  <a:lnTo>
                    <a:pt x="2599" y="1590"/>
                  </a:lnTo>
                  <a:lnTo>
                    <a:pt x="2590" y="1515"/>
                  </a:lnTo>
                  <a:lnTo>
                    <a:pt x="2575" y="1442"/>
                  </a:lnTo>
                  <a:lnTo>
                    <a:pt x="2554" y="1371"/>
                  </a:lnTo>
                  <a:lnTo>
                    <a:pt x="2528" y="1302"/>
                  </a:lnTo>
                  <a:lnTo>
                    <a:pt x="2498" y="1236"/>
                  </a:lnTo>
                  <a:lnTo>
                    <a:pt x="2461" y="1173"/>
                  </a:lnTo>
                  <a:lnTo>
                    <a:pt x="2421" y="1113"/>
                  </a:lnTo>
                  <a:lnTo>
                    <a:pt x="2376" y="1057"/>
                  </a:lnTo>
                  <a:lnTo>
                    <a:pt x="2328" y="1004"/>
                  </a:lnTo>
                  <a:lnTo>
                    <a:pt x="2275" y="955"/>
                  </a:lnTo>
                  <a:lnTo>
                    <a:pt x="2218" y="910"/>
                  </a:lnTo>
                  <a:lnTo>
                    <a:pt x="2159" y="869"/>
                  </a:lnTo>
                  <a:lnTo>
                    <a:pt x="2096" y="834"/>
                  </a:lnTo>
                  <a:lnTo>
                    <a:pt x="2030" y="802"/>
                  </a:lnTo>
                  <a:lnTo>
                    <a:pt x="1961" y="777"/>
                  </a:lnTo>
                  <a:lnTo>
                    <a:pt x="1890" y="755"/>
                  </a:lnTo>
                  <a:lnTo>
                    <a:pt x="1817" y="741"/>
                  </a:lnTo>
                  <a:lnTo>
                    <a:pt x="1741" y="731"/>
                  </a:lnTo>
                  <a:lnTo>
                    <a:pt x="1665" y="728"/>
                  </a:lnTo>
                  <a:close/>
                  <a:moveTo>
                    <a:pt x="1516" y="0"/>
                  </a:moveTo>
                  <a:lnTo>
                    <a:pt x="1814" y="0"/>
                  </a:lnTo>
                  <a:lnTo>
                    <a:pt x="1840" y="3"/>
                  </a:lnTo>
                  <a:lnTo>
                    <a:pt x="1863" y="11"/>
                  </a:lnTo>
                  <a:lnTo>
                    <a:pt x="1883" y="24"/>
                  </a:lnTo>
                  <a:lnTo>
                    <a:pt x="1900" y="41"/>
                  </a:lnTo>
                  <a:lnTo>
                    <a:pt x="1913" y="62"/>
                  </a:lnTo>
                  <a:lnTo>
                    <a:pt x="1922" y="84"/>
                  </a:lnTo>
                  <a:lnTo>
                    <a:pt x="1924" y="110"/>
                  </a:lnTo>
                  <a:lnTo>
                    <a:pt x="1924" y="358"/>
                  </a:lnTo>
                  <a:lnTo>
                    <a:pt x="2011" y="378"/>
                  </a:lnTo>
                  <a:lnTo>
                    <a:pt x="2095" y="404"/>
                  </a:lnTo>
                  <a:lnTo>
                    <a:pt x="2177" y="435"/>
                  </a:lnTo>
                  <a:lnTo>
                    <a:pt x="2256" y="472"/>
                  </a:lnTo>
                  <a:lnTo>
                    <a:pt x="2332" y="512"/>
                  </a:lnTo>
                  <a:lnTo>
                    <a:pt x="2406" y="558"/>
                  </a:lnTo>
                  <a:lnTo>
                    <a:pt x="2581" y="381"/>
                  </a:lnTo>
                  <a:lnTo>
                    <a:pt x="2598" y="368"/>
                  </a:lnTo>
                  <a:lnTo>
                    <a:pt x="2617" y="358"/>
                  </a:lnTo>
                  <a:lnTo>
                    <a:pt x="2637" y="352"/>
                  </a:lnTo>
                  <a:lnTo>
                    <a:pt x="2659" y="350"/>
                  </a:lnTo>
                  <a:lnTo>
                    <a:pt x="2680" y="352"/>
                  </a:lnTo>
                  <a:lnTo>
                    <a:pt x="2700" y="358"/>
                  </a:lnTo>
                  <a:lnTo>
                    <a:pt x="2719" y="368"/>
                  </a:lnTo>
                  <a:lnTo>
                    <a:pt x="2737" y="381"/>
                  </a:lnTo>
                  <a:lnTo>
                    <a:pt x="2948" y="593"/>
                  </a:lnTo>
                  <a:lnTo>
                    <a:pt x="2962" y="610"/>
                  </a:lnTo>
                  <a:lnTo>
                    <a:pt x="2972" y="630"/>
                  </a:lnTo>
                  <a:lnTo>
                    <a:pt x="2978" y="650"/>
                  </a:lnTo>
                  <a:lnTo>
                    <a:pt x="2980" y="671"/>
                  </a:lnTo>
                  <a:lnTo>
                    <a:pt x="2978" y="693"/>
                  </a:lnTo>
                  <a:lnTo>
                    <a:pt x="2972" y="713"/>
                  </a:lnTo>
                  <a:lnTo>
                    <a:pt x="2962" y="732"/>
                  </a:lnTo>
                  <a:lnTo>
                    <a:pt x="2948" y="749"/>
                  </a:lnTo>
                  <a:lnTo>
                    <a:pt x="2772" y="926"/>
                  </a:lnTo>
                  <a:lnTo>
                    <a:pt x="2818" y="999"/>
                  </a:lnTo>
                  <a:lnTo>
                    <a:pt x="2859" y="1075"/>
                  </a:lnTo>
                  <a:lnTo>
                    <a:pt x="2895" y="1154"/>
                  </a:lnTo>
                  <a:lnTo>
                    <a:pt x="2926" y="1236"/>
                  </a:lnTo>
                  <a:lnTo>
                    <a:pt x="2951" y="1320"/>
                  </a:lnTo>
                  <a:lnTo>
                    <a:pt x="2972" y="1407"/>
                  </a:lnTo>
                  <a:lnTo>
                    <a:pt x="3220" y="1407"/>
                  </a:lnTo>
                  <a:lnTo>
                    <a:pt x="3245" y="1409"/>
                  </a:lnTo>
                  <a:lnTo>
                    <a:pt x="3268" y="1419"/>
                  </a:lnTo>
                  <a:lnTo>
                    <a:pt x="3289" y="1432"/>
                  </a:lnTo>
                  <a:lnTo>
                    <a:pt x="3306" y="1448"/>
                  </a:lnTo>
                  <a:lnTo>
                    <a:pt x="3319" y="1469"/>
                  </a:lnTo>
                  <a:lnTo>
                    <a:pt x="3328" y="1492"/>
                  </a:lnTo>
                  <a:lnTo>
                    <a:pt x="3331" y="1517"/>
                  </a:lnTo>
                  <a:lnTo>
                    <a:pt x="3331" y="1816"/>
                  </a:lnTo>
                  <a:lnTo>
                    <a:pt x="3328" y="1841"/>
                  </a:lnTo>
                  <a:lnTo>
                    <a:pt x="3320" y="1865"/>
                  </a:lnTo>
                  <a:lnTo>
                    <a:pt x="3307" y="1885"/>
                  </a:lnTo>
                  <a:lnTo>
                    <a:pt x="3289" y="1902"/>
                  </a:lnTo>
                  <a:lnTo>
                    <a:pt x="3269" y="1915"/>
                  </a:lnTo>
                  <a:lnTo>
                    <a:pt x="3246" y="1923"/>
                  </a:lnTo>
                  <a:lnTo>
                    <a:pt x="3221" y="1927"/>
                  </a:lnTo>
                  <a:lnTo>
                    <a:pt x="2972" y="1927"/>
                  </a:lnTo>
                  <a:lnTo>
                    <a:pt x="2952" y="2013"/>
                  </a:lnTo>
                  <a:lnTo>
                    <a:pt x="2926" y="2098"/>
                  </a:lnTo>
                  <a:lnTo>
                    <a:pt x="2896" y="2179"/>
                  </a:lnTo>
                  <a:lnTo>
                    <a:pt x="2859" y="2259"/>
                  </a:lnTo>
                  <a:lnTo>
                    <a:pt x="2819" y="2335"/>
                  </a:lnTo>
                  <a:lnTo>
                    <a:pt x="2773" y="2408"/>
                  </a:lnTo>
                  <a:lnTo>
                    <a:pt x="2948" y="2585"/>
                  </a:lnTo>
                  <a:lnTo>
                    <a:pt x="2962" y="2602"/>
                  </a:lnTo>
                  <a:lnTo>
                    <a:pt x="2973" y="2621"/>
                  </a:lnTo>
                  <a:lnTo>
                    <a:pt x="2979" y="2641"/>
                  </a:lnTo>
                  <a:lnTo>
                    <a:pt x="2981" y="2662"/>
                  </a:lnTo>
                  <a:lnTo>
                    <a:pt x="2979" y="2683"/>
                  </a:lnTo>
                  <a:lnTo>
                    <a:pt x="2973" y="2703"/>
                  </a:lnTo>
                  <a:lnTo>
                    <a:pt x="2962" y="2722"/>
                  </a:lnTo>
                  <a:lnTo>
                    <a:pt x="2948" y="2740"/>
                  </a:lnTo>
                  <a:lnTo>
                    <a:pt x="2737" y="2952"/>
                  </a:lnTo>
                  <a:lnTo>
                    <a:pt x="2719" y="2966"/>
                  </a:lnTo>
                  <a:lnTo>
                    <a:pt x="2701" y="2976"/>
                  </a:lnTo>
                  <a:lnTo>
                    <a:pt x="2680" y="2982"/>
                  </a:lnTo>
                  <a:lnTo>
                    <a:pt x="2660" y="2984"/>
                  </a:lnTo>
                  <a:lnTo>
                    <a:pt x="2638" y="2982"/>
                  </a:lnTo>
                  <a:lnTo>
                    <a:pt x="2618" y="2976"/>
                  </a:lnTo>
                  <a:lnTo>
                    <a:pt x="2599" y="2966"/>
                  </a:lnTo>
                  <a:lnTo>
                    <a:pt x="2582" y="2952"/>
                  </a:lnTo>
                  <a:lnTo>
                    <a:pt x="2406" y="2775"/>
                  </a:lnTo>
                  <a:lnTo>
                    <a:pt x="2333" y="2822"/>
                  </a:lnTo>
                  <a:lnTo>
                    <a:pt x="2256" y="2862"/>
                  </a:lnTo>
                  <a:lnTo>
                    <a:pt x="2177" y="2899"/>
                  </a:lnTo>
                  <a:lnTo>
                    <a:pt x="2096" y="2929"/>
                  </a:lnTo>
                  <a:lnTo>
                    <a:pt x="2012" y="2956"/>
                  </a:lnTo>
                  <a:lnTo>
                    <a:pt x="1925" y="2975"/>
                  </a:lnTo>
                  <a:lnTo>
                    <a:pt x="1925" y="3224"/>
                  </a:lnTo>
                  <a:lnTo>
                    <a:pt x="1922" y="3250"/>
                  </a:lnTo>
                  <a:lnTo>
                    <a:pt x="1914" y="3273"/>
                  </a:lnTo>
                  <a:lnTo>
                    <a:pt x="1900" y="3293"/>
                  </a:lnTo>
                  <a:lnTo>
                    <a:pt x="1883" y="3311"/>
                  </a:lnTo>
                  <a:lnTo>
                    <a:pt x="1863" y="3323"/>
                  </a:lnTo>
                  <a:lnTo>
                    <a:pt x="1840" y="3332"/>
                  </a:lnTo>
                  <a:lnTo>
                    <a:pt x="1815" y="3335"/>
                  </a:lnTo>
                  <a:lnTo>
                    <a:pt x="1516" y="3335"/>
                  </a:lnTo>
                  <a:lnTo>
                    <a:pt x="1491" y="3332"/>
                  </a:lnTo>
                  <a:lnTo>
                    <a:pt x="1468" y="3323"/>
                  </a:lnTo>
                  <a:lnTo>
                    <a:pt x="1448" y="3311"/>
                  </a:lnTo>
                  <a:lnTo>
                    <a:pt x="1431" y="3293"/>
                  </a:lnTo>
                  <a:lnTo>
                    <a:pt x="1417" y="3273"/>
                  </a:lnTo>
                  <a:lnTo>
                    <a:pt x="1409" y="3250"/>
                  </a:lnTo>
                  <a:lnTo>
                    <a:pt x="1406" y="3224"/>
                  </a:lnTo>
                  <a:lnTo>
                    <a:pt x="1406" y="2975"/>
                  </a:lnTo>
                  <a:lnTo>
                    <a:pt x="1319" y="2956"/>
                  </a:lnTo>
                  <a:lnTo>
                    <a:pt x="1235" y="2929"/>
                  </a:lnTo>
                  <a:lnTo>
                    <a:pt x="1153" y="2899"/>
                  </a:lnTo>
                  <a:lnTo>
                    <a:pt x="1074" y="2862"/>
                  </a:lnTo>
                  <a:lnTo>
                    <a:pt x="998" y="2822"/>
                  </a:lnTo>
                  <a:lnTo>
                    <a:pt x="925" y="2775"/>
                  </a:lnTo>
                  <a:lnTo>
                    <a:pt x="749" y="2952"/>
                  </a:lnTo>
                  <a:lnTo>
                    <a:pt x="732" y="2966"/>
                  </a:lnTo>
                  <a:lnTo>
                    <a:pt x="713" y="2976"/>
                  </a:lnTo>
                  <a:lnTo>
                    <a:pt x="693" y="2982"/>
                  </a:lnTo>
                  <a:lnTo>
                    <a:pt x="671" y="2984"/>
                  </a:lnTo>
                  <a:lnTo>
                    <a:pt x="651" y="2982"/>
                  </a:lnTo>
                  <a:lnTo>
                    <a:pt x="630" y="2976"/>
                  </a:lnTo>
                  <a:lnTo>
                    <a:pt x="612" y="2966"/>
                  </a:lnTo>
                  <a:lnTo>
                    <a:pt x="594" y="2952"/>
                  </a:lnTo>
                  <a:lnTo>
                    <a:pt x="383" y="2740"/>
                  </a:lnTo>
                  <a:lnTo>
                    <a:pt x="369" y="2722"/>
                  </a:lnTo>
                  <a:lnTo>
                    <a:pt x="358" y="2703"/>
                  </a:lnTo>
                  <a:lnTo>
                    <a:pt x="352" y="2683"/>
                  </a:lnTo>
                  <a:lnTo>
                    <a:pt x="350" y="2662"/>
                  </a:lnTo>
                  <a:lnTo>
                    <a:pt x="352" y="2641"/>
                  </a:lnTo>
                  <a:lnTo>
                    <a:pt x="358" y="2621"/>
                  </a:lnTo>
                  <a:lnTo>
                    <a:pt x="369" y="2602"/>
                  </a:lnTo>
                  <a:lnTo>
                    <a:pt x="383" y="2585"/>
                  </a:lnTo>
                  <a:lnTo>
                    <a:pt x="558" y="2408"/>
                  </a:lnTo>
                  <a:lnTo>
                    <a:pt x="512" y="2335"/>
                  </a:lnTo>
                  <a:lnTo>
                    <a:pt x="472" y="2258"/>
                  </a:lnTo>
                  <a:lnTo>
                    <a:pt x="435" y="2179"/>
                  </a:lnTo>
                  <a:lnTo>
                    <a:pt x="405" y="2098"/>
                  </a:lnTo>
                  <a:lnTo>
                    <a:pt x="379" y="2013"/>
                  </a:lnTo>
                  <a:lnTo>
                    <a:pt x="359" y="1927"/>
                  </a:lnTo>
                  <a:lnTo>
                    <a:pt x="110" y="1927"/>
                  </a:lnTo>
                  <a:lnTo>
                    <a:pt x="85" y="1923"/>
                  </a:lnTo>
                  <a:lnTo>
                    <a:pt x="62" y="1915"/>
                  </a:lnTo>
                  <a:lnTo>
                    <a:pt x="41" y="1902"/>
                  </a:lnTo>
                  <a:lnTo>
                    <a:pt x="24" y="1885"/>
                  </a:lnTo>
                  <a:lnTo>
                    <a:pt x="11" y="1865"/>
                  </a:lnTo>
                  <a:lnTo>
                    <a:pt x="3" y="1841"/>
                  </a:lnTo>
                  <a:lnTo>
                    <a:pt x="0" y="1816"/>
                  </a:lnTo>
                  <a:lnTo>
                    <a:pt x="0" y="1517"/>
                  </a:lnTo>
                  <a:lnTo>
                    <a:pt x="3" y="1492"/>
                  </a:lnTo>
                  <a:lnTo>
                    <a:pt x="11" y="1469"/>
                  </a:lnTo>
                  <a:lnTo>
                    <a:pt x="24" y="1448"/>
                  </a:lnTo>
                  <a:lnTo>
                    <a:pt x="41" y="1432"/>
                  </a:lnTo>
                  <a:lnTo>
                    <a:pt x="62" y="1419"/>
                  </a:lnTo>
                  <a:lnTo>
                    <a:pt x="85" y="1409"/>
                  </a:lnTo>
                  <a:lnTo>
                    <a:pt x="110" y="1407"/>
                  </a:lnTo>
                  <a:lnTo>
                    <a:pt x="359" y="1407"/>
                  </a:lnTo>
                  <a:lnTo>
                    <a:pt x="379" y="1320"/>
                  </a:lnTo>
                  <a:lnTo>
                    <a:pt x="405" y="1236"/>
                  </a:lnTo>
                  <a:lnTo>
                    <a:pt x="435" y="1154"/>
                  </a:lnTo>
                  <a:lnTo>
                    <a:pt x="472" y="1075"/>
                  </a:lnTo>
                  <a:lnTo>
                    <a:pt x="512" y="999"/>
                  </a:lnTo>
                  <a:lnTo>
                    <a:pt x="558" y="926"/>
                  </a:lnTo>
                  <a:lnTo>
                    <a:pt x="383" y="749"/>
                  </a:lnTo>
                  <a:lnTo>
                    <a:pt x="369" y="732"/>
                  </a:lnTo>
                  <a:lnTo>
                    <a:pt x="358" y="713"/>
                  </a:lnTo>
                  <a:lnTo>
                    <a:pt x="352" y="693"/>
                  </a:lnTo>
                  <a:lnTo>
                    <a:pt x="350" y="671"/>
                  </a:lnTo>
                  <a:lnTo>
                    <a:pt x="352" y="650"/>
                  </a:lnTo>
                  <a:lnTo>
                    <a:pt x="358" y="630"/>
                  </a:lnTo>
                  <a:lnTo>
                    <a:pt x="369" y="610"/>
                  </a:lnTo>
                  <a:lnTo>
                    <a:pt x="383" y="593"/>
                  </a:lnTo>
                  <a:lnTo>
                    <a:pt x="593" y="382"/>
                  </a:lnTo>
                  <a:lnTo>
                    <a:pt x="610" y="368"/>
                  </a:lnTo>
                  <a:lnTo>
                    <a:pt x="630" y="358"/>
                  </a:lnTo>
                  <a:lnTo>
                    <a:pt x="650" y="352"/>
                  </a:lnTo>
                  <a:lnTo>
                    <a:pt x="671" y="350"/>
                  </a:lnTo>
                  <a:lnTo>
                    <a:pt x="691" y="352"/>
                  </a:lnTo>
                  <a:lnTo>
                    <a:pt x="713" y="358"/>
                  </a:lnTo>
                  <a:lnTo>
                    <a:pt x="731" y="368"/>
                  </a:lnTo>
                  <a:lnTo>
                    <a:pt x="748" y="382"/>
                  </a:lnTo>
                  <a:lnTo>
                    <a:pt x="924" y="559"/>
                  </a:lnTo>
                  <a:lnTo>
                    <a:pt x="997" y="513"/>
                  </a:lnTo>
                  <a:lnTo>
                    <a:pt x="1074" y="472"/>
                  </a:lnTo>
                  <a:lnTo>
                    <a:pt x="1153" y="435"/>
                  </a:lnTo>
                  <a:lnTo>
                    <a:pt x="1235" y="405"/>
                  </a:lnTo>
                  <a:lnTo>
                    <a:pt x="1319" y="379"/>
                  </a:lnTo>
                  <a:lnTo>
                    <a:pt x="1405" y="359"/>
                  </a:lnTo>
                  <a:lnTo>
                    <a:pt x="1405" y="110"/>
                  </a:lnTo>
                  <a:lnTo>
                    <a:pt x="1408" y="84"/>
                  </a:lnTo>
                  <a:lnTo>
                    <a:pt x="1416" y="62"/>
                  </a:lnTo>
                  <a:lnTo>
                    <a:pt x="1430" y="41"/>
                  </a:lnTo>
                  <a:lnTo>
                    <a:pt x="1447" y="24"/>
                  </a:lnTo>
                  <a:lnTo>
                    <a:pt x="1467" y="11"/>
                  </a:lnTo>
                  <a:lnTo>
                    <a:pt x="1490" y="3"/>
                  </a:lnTo>
                  <a:lnTo>
                    <a:pt x="15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28">
              <a:extLst>
                <a:ext uri="{FF2B5EF4-FFF2-40B4-BE49-F238E27FC236}">
                  <a16:creationId xmlns:a16="http://schemas.microsoft.com/office/drawing/2014/main" id="{A569E21B-72E2-E3C0-0B7D-AEE574C4FB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9" y="3995"/>
              <a:ext cx="104" cy="105"/>
            </a:xfrm>
            <a:custGeom>
              <a:avLst/>
              <a:gdLst>
                <a:gd name="T0" fmla="*/ 676 w 1465"/>
                <a:gd name="T1" fmla="*/ 240 h 1466"/>
                <a:gd name="T2" fmla="*/ 671 w 1465"/>
                <a:gd name="T3" fmla="*/ 320 h 1466"/>
                <a:gd name="T4" fmla="*/ 658 w 1465"/>
                <a:gd name="T5" fmla="*/ 349 h 1466"/>
                <a:gd name="T6" fmla="*/ 578 w 1465"/>
                <a:gd name="T7" fmla="*/ 385 h 1466"/>
                <a:gd name="T8" fmla="*/ 502 w 1465"/>
                <a:gd name="T9" fmla="*/ 466 h 1466"/>
                <a:gd name="T10" fmla="*/ 480 w 1465"/>
                <a:gd name="T11" fmla="*/ 585 h 1466"/>
                <a:gd name="T12" fmla="*/ 524 w 1465"/>
                <a:gd name="T13" fmla="*/ 688 h 1466"/>
                <a:gd name="T14" fmla="*/ 626 w 1465"/>
                <a:gd name="T15" fmla="*/ 763 h 1466"/>
                <a:gd name="T16" fmla="*/ 752 w 1465"/>
                <a:gd name="T17" fmla="*/ 817 h 1466"/>
                <a:gd name="T18" fmla="*/ 809 w 1465"/>
                <a:gd name="T19" fmla="*/ 871 h 1466"/>
                <a:gd name="T20" fmla="*/ 800 w 1465"/>
                <a:gd name="T21" fmla="*/ 939 h 1466"/>
                <a:gd name="T22" fmla="*/ 708 w 1465"/>
                <a:gd name="T23" fmla="*/ 975 h 1466"/>
                <a:gd name="T24" fmla="*/ 573 w 1465"/>
                <a:gd name="T25" fmla="*/ 948 h 1466"/>
                <a:gd name="T26" fmla="*/ 512 w 1465"/>
                <a:gd name="T27" fmla="*/ 927 h 1466"/>
                <a:gd name="T28" fmla="*/ 486 w 1465"/>
                <a:gd name="T29" fmla="*/ 986 h 1466"/>
                <a:gd name="T30" fmla="*/ 474 w 1465"/>
                <a:gd name="T31" fmla="*/ 1056 h 1466"/>
                <a:gd name="T32" fmla="*/ 532 w 1465"/>
                <a:gd name="T33" fmla="*/ 1091 h 1466"/>
                <a:gd name="T34" fmla="*/ 641 w 1465"/>
                <a:gd name="T35" fmla="*/ 1116 h 1466"/>
                <a:gd name="T36" fmla="*/ 662 w 1465"/>
                <a:gd name="T37" fmla="*/ 1141 h 1466"/>
                <a:gd name="T38" fmla="*/ 670 w 1465"/>
                <a:gd name="T39" fmla="*/ 1226 h 1466"/>
                <a:gd name="T40" fmla="*/ 775 w 1465"/>
                <a:gd name="T41" fmla="*/ 1233 h 1466"/>
                <a:gd name="T42" fmla="*/ 792 w 1465"/>
                <a:gd name="T43" fmla="*/ 1172 h 1466"/>
                <a:gd name="T44" fmla="*/ 807 w 1465"/>
                <a:gd name="T45" fmla="*/ 1106 h 1466"/>
                <a:gd name="T46" fmla="*/ 901 w 1465"/>
                <a:gd name="T47" fmla="*/ 1062 h 1466"/>
                <a:gd name="T48" fmla="*/ 977 w 1465"/>
                <a:gd name="T49" fmla="*/ 965 h 1466"/>
                <a:gd name="T50" fmla="*/ 989 w 1465"/>
                <a:gd name="T51" fmla="*/ 840 h 1466"/>
                <a:gd name="T52" fmla="*/ 928 w 1465"/>
                <a:gd name="T53" fmla="*/ 728 h 1466"/>
                <a:gd name="T54" fmla="*/ 791 w 1465"/>
                <a:gd name="T55" fmla="*/ 647 h 1466"/>
                <a:gd name="T56" fmla="*/ 682 w 1465"/>
                <a:gd name="T57" fmla="*/ 592 h 1466"/>
                <a:gd name="T58" fmla="*/ 657 w 1465"/>
                <a:gd name="T59" fmla="*/ 535 h 1466"/>
                <a:gd name="T60" fmla="*/ 697 w 1465"/>
                <a:gd name="T61" fmla="*/ 488 h 1466"/>
                <a:gd name="T62" fmla="*/ 818 w 1465"/>
                <a:gd name="T63" fmla="*/ 485 h 1466"/>
                <a:gd name="T64" fmla="*/ 916 w 1465"/>
                <a:gd name="T65" fmla="*/ 516 h 1466"/>
                <a:gd name="T66" fmla="*/ 946 w 1465"/>
                <a:gd name="T67" fmla="*/ 452 h 1466"/>
                <a:gd name="T68" fmla="*/ 950 w 1465"/>
                <a:gd name="T69" fmla="*/ 380 h 1466"/>
                <a:gd name="T70" fmla="*/ 842 w 1465"/>
                <a:gd name="T71" fmla="*/ 345 h 1466"/>
                <a:gd name="T72" fmla="*/ 800 w 1465"/>
                <a:gd name="T73" fmla="*/ 330 h 1466"/>
                <a:gd name="T74" fmla="*/ 797 w 1465"/>
                <a:gd name="T75" fmla="*/ 270 h 1466"/>
                <a:gd name="T76" fmla="*/ 774 w 1465"/>
                <a:gd name="T77" fmla="*/ 231 h 1466"/>
                <a:gd name="T78" fmla="*/ 733 w 1465"/>
                <a:gd name="T79" fmla="*/ 0 h 1466"/>
                <a:gd name="T80" fmla="*/ 989 w 1465"/>
                <a:gd name="T81" fmla="*/ 46 h 1466"/>
                <a:gd name="T82" fmla="*/ 1205 w 1465"/>
                <a:gd name="T83" fmla="*/ 172 h 1466"/>
                <a:gd name="T84" fmla="*/ 1365 w 1465"/>
                <a:gd name="T85" fmla="*/ 363 h 1466"/>
                <a:gd name="T86" fmla="*/ 1453 w 1465"/>
                <a:gd name="T87" fmla="*/ 601 h 1466"/>
                <a:gd name="T88" fmla="*/ 1453 w 1465"/>
                <a:gd name="T89" fmla="*/ 865 h 1466"/>
                <a:gd name="T90" fmla="*/ 1365 w 1465"/>
                <a:gd name="T91" fmla="*/ 1103 h 1466"/>
                <a:gd name="T92" fmla="*/ 1205 w 1465"/>
                <a:gd name="T93" fmla="*/ 1294 h 1466"/>
                <a:gd name="T94" fmla="*/ 989 w 1465"/>
                <a:gd name="T95" fmla="*/ 1420 h 1466"/>
                <a:gd name="T96" fmla="*/ 733 w 1465"/>
                <a:gd name="T97" fmla="*/ 1466 h 1466"/>
                <a:gd name="T98" fmla="*/ 477 w 1465"/>
                <a:gd name="T99" fmla="*/ 1420 h 1466"/>
                <a:gd name="T100" fmla="*/ 261 w 1465"/>
                <a:gd name="T101" fmla="*/ 1294 h 1466"/>
                <a:gd name="T102" fmla="*/ 101 w 1465"/>
                <a:gd name="T103" fmla="*/ 1103 h 1466"/>
                <a:gd name="T104" fmla="*/ 13 w 1465"/>
                <a:gd name="T105" fmla="*/ 865 h 1466"/>
                <a:gd name="T106" fmla="*/ 12 w 1465"/>
                <a:gd name="T107" fmla="*/ 606 h 1466"/>
                <a:gd name="T108" fmla="*/ 93 w 1465"/>
                <a:gd name="T109" fmla="*/ 377 h 1466"/>
                <a:gd name="T110" fmla="*/ 240 w 1465"/>
                <a:gd name="T111" fmla="*/ 191 h 1466"/>
                <a:gd name="T112" fmla="*/ 437 w 1465"/>
                <a:gd name="T113" fmla="*/ 62 h 1466"/>
                <a:gd name="T114" fmla="*/ 671 w 1465"/>
                <a:gd name="T115" fmla="*/ 2 h 1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65" h="1466">
                  <a:moveTo>
                    <a:pt x="706" y="230"/>
                  </a:moveTo>
                  <a:lnTo>
                    <a:pt x="691" y="231"/>
                  </a:lnTo>
                  <a:lnTo>
                    <a:pt x="682" y="234"/>
                  </a:lnTo>
                  <a:lnTo>
                    <a:pt x="676" y="240"/>
                  </a:lnTo>
                  <a:lnTo>
                    <a:pt x="673" y="250"/>
                  </a:lnTo>
                  <a:lnTo>
                    <a:pt x="672" y="266"/>
                  </a:lnTo>
                  <a:lnTo>
                    <a:pt x="672" y="306"/>
                  </a:lnTo>
                  <a:lnTo>
                    <a:pt x="671" y="320"/>
                  </a:lnTo>
                  <a:lnTo>
                    <a:pt x="671" y="330"/>
                  </a:lnTo>
                  <a:lnTo>
                    <a:pt x="669" y="339"/>
                  </a:lnTo>
                  <a:lnTo>
                    <a:pt x="665" y="344"/>
                  </a:lnTo>
                  <a:lnTo>
                    <a:pt x="658" y="349"/>
                  </a:lnTo>
                  <a:lnTo>
                    <a:pt x="647" y="353"/>
                  </a:lnTo>
                  <a:lnTo>
                    <a:pt x="633" y="358"/>
                  </a:lnTo>
                  <a:lnTo>
                    <a:pt x="604" y="370"/>
                  </a:lnTo>
                  <a:lnTo>
                    <a:pt x="578" y="385"/>
                  </a:lnTo>
                  <a:lnTo>
                    <a:pt x="554" y="401"/>
                  </a:lnTo>
                  <a:lnTo>
                    <a:pt x="534" y="421"/>
                  </a:lnTo>
                  <a:lnTo>
                    <a:pt x="516" y="442"/>
                  </a:lnTo>
                  <a:lnTo>
                    <a:pt x="502" y="466"/>
                  </a:lnTo>
                  <a:lnTo>
                    <a:pt x="490" y="493"/>
                  </a:lnTo>
                  <a:lnTo>
                    <a:pt x="483" y="522"/>
                  </a:lnTo>
                  <a:lnTo>
                    <a:pt x="479" y="553"/>
                  </a:lnTo>
                  <a:lnTo>
                    <a:pt x="480" y="585"/>
                  </a:lnTo>
                  <a:lnTo>
                    <a:pt x="484" y="614"/>
                  </a:lnTo>
                  <a:lnTo>
                    <a:pt x="494" y="642"/>
                  </a:lnTo>
                  <a:lnTo>
                    <a:pt x="507" y="666"/>
                  </a:lnTo>
                  <a:lnTo>
                    <a:pt x="524" y="688"/>
                  </a:lnTo>
                  <a:lnTo>
                    <a:pt x="543" y="709"/>
                  </a:lnTo>
                  <a:lnTo>
                    <a:pt x="566" y="728"/>
                  </a:lnTo>
                  <a:lnTo>
                    <a:pt x="593" y="745"/>
                  </a:lnTo>
                  <a:lnTo>
                    <a:pt x="626" y="763"/>
                  </a:lnTo>
                  <a:lnTo>
                    <a:pt x="662" y="779"/>
                  </a:lnTo>
                  <a:lnTo>
                    <a:pt x="697" y="793"/>
                  </a:lnTo>
                  <a:lnTo>
                    <a:pt x="733" y="808"/>
                  </a:lnTo>
                  <a:lnTo>
                    <a:pt x="752" y="817"/>
                  </a:lnTo>
                  <a:lnTo>
                    <a:pt x="768" y="826"/>
                  </a:lnTo>
                  <a:lnTo>
                    <a:pt x="785" y="838"/>
                  </a:lnTo>
                  <a:lnTo>
                    <a:pt x="799" y="854"/>
                  </a:lnTo>
                  <a:lnTo>
                    <a:pt x="809" y="871"/>
                  </a:lnTo>
                  <a:lnTo>
                    <a:pt x="813" y="888"/>
                  </a:lnTo>
                  <a:lnTo>
                    <a:pt x="813" y="905"/>
                  </a:lnTo>
                  <a:lnTo>
                    <a:pt x="809" y="923"/>
                  </a:lnTo>
                  <a:lnTo>
                    <a:pt x="800" y="939"/>
                  </a:lnTo>
                  <a:lnTo>
                    <a:pt x="786" y="952"/>
                  </a:lnTo>
                  <a:lnTo>
                    <a:pt x="768" y="962"/>
                  </a:lnTo>
                  <a:lnTo>
                    <a:pt x="739" y="971"/>
                  </a:lnTo>
                  <a:lnTo>
                    <a:pt x="708" y="975"/>
                  </a:lnTo>
                  <a:lnTo>
                    <a:pt x="678" y="974"/>
                  </a:lnTo>
                  <a:lnTo>
                    <a:pt x="641" y="968"/>
                  </a:lnTo>
                  <a:lnTo>
                    <a:pt x="606" y="959"/>
                  </a:lnTo>
                  <a:lnTo>
                    <a:pt x="573" y="948"/>
                  </a:lnTo>
                  <a:lnTo>
                    <a:pt x="539" y="933"/>
                  </a:lnTo>
                  <a:lnTo>
                    <a:pt x="528" y="928"/>
                  </a:lnTo>
                  <a:lnTo>
                    <a:pt x="519" y="926"/>
                  </a:lnTo>
                  <a:lnTo>
                    <a:pt x="512" y="927"/>
                  </a:lnTo>
                  <a:lnTo>
                    <a:pt x="507" y="931"/>
                  </a:lnTo>
                  <a:lnTo>
                    <a:pt x="502" y="939"/>
                  </a:lnTo>
                  <a:lnTo>
                    <a:pt x="498" y="951"/>
                  </a:lnTo>
                  <a:lnTo>
                    <a:pt x="486" y="986"/>
                  </a:lnTo>
                  <a:lnTo>
                    <a:pt x="477" y="1023"/>
                  </a:lnTo>
                  <a:lnTo>
                    <a:pt x="473" y="1037"/>
                  </a:lnTo>
                  <a:lnTo>
                    <a:pt x="472" y="1048"/>
                  </a:lnTo>
                  <a:lnTo>
                    <a:pt x="474" y="1056"/>
                  </a:lnTo>
                  <a:lnTo>
                    <a:pt x="480" y="1065"/>
                  </a:lnTo>
                  <a:lnTo>
                    <a:pt x="489" y="1071"/>
                  </a:lnTo>
                  <a:lnTo>
                    <a:pt x="503" y="1078"/>
                  </a:lnTo>
                  <a:lnTo>
                    <a:pt x="532" y="1091"/>
                  </a:lnTo>
                  <a:lnTo>
                    <a:pt x="563" y="1100"/>
                  </a:lnTo>
                  <a:lnTo>
                    <a:pt x="595" y="1108"/>
                  </a:lnTo>
                  <a:lnTo>
                    <a:pt x="626" y="1113"/>
                  </a:lnTo>
                  <a:lnTo>
                    <a:pt x="641" y="1116"/>
                  </a:lnTo>
                  <a:lnTo>
                    <a:pt x="650" y="1119"/>
                  </a:lnTo>
                  <a:lnTo>
                    <a:pt x="657" y="1123"/>
                  </a:lnTo>
                  <a:lnTo>
                    <a:pt x="660" y="1130"/>
                  </a:lnTo>
                  <a:lnTo>
                    <a:pt x="662" y="1141"/>
                  </a:lnTo>
                  <a:lnTo>
                    <a:pt x="662" y="1156"/>
                  </a:lnTo>
                  <a:lnTo>
                    <a:pt x="663" y="1203"/>
                  </a:lnTo>
                  <a:lnTo>
                    <a:pt x="665" y="1217"/>
                  </a:lnTo>
                  <a:lnTo>
                    <a:pt x="670" y="1226"/>
                  </a:lnTo>
                  <a:lnTo>
                    <a:pt x="679" y="1232"/>
                  </a:lnTo>
                  <a:lnTo>
                    <a:pt x="693" y="1235"/>
                  </a:lnTo>
                  <a:lnTo>
                    <a:pt x="763" y="1235"/>
                  </a:lnTo>
                  <a:lnTo>
                    <a:pt x="775" y="1233"/>
                  </a:lnTo>
                  <a:lnTo>
                    <a:pt x="784" y="1227"/>
                  </a:lnTo>
                  <a:lnTo>
                    <a:pt x="790" y="1218"/>
                  </a:lnTo>
                  <a:lnTo>
                    <a:pt x="791" y="1204"/>
                  </a:lnTo>
                  <a:lnTo>
                    <a:pt x="792" y="1172"/>
                  </a:lnTo>
                  <a:lnTo>
                    <a:pt x="791" y="1140"/>
                  </a:lnTo>
                  <a:lnTo>
                    <a:pt x="792" y="1125"/>
                  </a:lnTo>
                  <a:lnTo>
                    <a:pt x="798" y="1114"/>
                  </a:lnTo>
                  <a:lnTo>
                    <a:pt x="807" y="1106"/>
                  </a:lnTo>
                  <a:lnTo>
                    <a:pt x="821" y="1101"/>
                  </a:lnTo>
                  <a:lnTo>
                    <a:pt x="850" y="1091"/>
                  </a:lnTo>
                  <a:lnTo>
                    <a:pt x="876" y="1079"/>
                  </a:lnTo>
                  <a:lnTo>
                    <a:pt x="901" y="1062"/>
                  </a:lnTo>
                  <a:lnTo>
                    <a:pt x="923" y="1044"/>
                  </a:lnTo>
                  <a:lnTo>
                    <a:pt x="943" y="1022"/>
                  </a:lnTo>
                  <a:lnTo>
                    <a:pt x="963" y="995"/>
                  </a:lnTo>
                  <a:lnTo>
                    <a:pt x="977" y="965"/>
                  </a:lnTo>
                  <a:lnTo>
                    <a:pt x="988" y="934"/>
                  </a:lnTo>
                  <a:lnTo>
                    <a:pt x="993" y="903"/>
                  </a:lnTo>
                  <a:lnTo>
                    <a:pt x="993" y="872"/>
                  </a:lnTo>
                  <a:lnTo>
                    <a:pt x="989" y="840"/>
                  </a:lnTo>
                  <a:lnTo>
                    <a:pt x="980" y="810"/>
                  </a:lnTo>
                  <a:lnTo>
                    <a:pt x="966" y="781"/>
                  </a:lnTo>
                  <a:lnTo>
                    <a:pt x="949" y="753"/>
                  </a:lnTo>
                  <a:lnTo>
                    <a:pt x="928" y="728"/>
                  </a:lnTo>
                  <a:lnTo>
                    <a:pt x="903" y="705"/>
                  </a:lnTo>
                  <a:lnTo>
                    <a:pt x="872" y="685"/>
                  </a:lnTo>
                  <a:lnTo>
                    <a:pt x="832" y="665"/>
                  </a:lnTo>
                  <a:lnTo>
                    <a:pt x="791" y="647"/>
                  </a:lnTo>
                  <a:lnTo>
                    <a:pt x="750" y="630"/>
                  </a:lnTo>
                  <a:lnTo>
                    <a:pt x="726" y="619"/>
                  </a:lnTo>
                  <a:lnTo>
                    <a:pt x="703" y="607"/>
                  </a:lnTo>
                  <a:lnTo>
                    <a:pt x="682" y="592"/>
                  </a:lnTo>
                  <a:lnTo>
                    <a:pt x="670" y="579"/>
                  </a:lnTo>
                  <a:lnTo>
                    <a:pt x="662" y="565"/>
                  </a:lnTo>
                  <a:lnTo>
                    <a:pt x="657" y="550"/>
                  </a:lnTo>
                  <a:lnTo>
                    <a:pt x="657" y="535"/>
                  </a:lnTo>
                  <a:lnTo>
                    <a:pt x="662" y="521"/>
                  </a:lnTo>
                  <a:lnTo>
                    <a:pt x="669" y="508"/>
                  </a:lnTo>
                  <a:lnTo>
                    <a:pt x="681" y="497"/>
                  </a:lnTo>
                  <a:lnTo>
                    <a:pt x="697" y="488"/>
                  </a:lnTo>
                  <a:lnTo>
                    <a:pt x="717" y="482"/>
                  </a:lnTo>
                  <a:lnTo>
                    <a:pt x="738" y="479"/>
                  </a:lnTo>
                  <a:lnTo>
                    <a:pt x="778" y="479"/>
                  </a:lnTo>
                  <a:lnTo>
                    <a:pt x="818" y="485"/>
                  </a:lnTo>
                  <a:lnTo>
                    <a:pt x="856" y="495"/>
                  </a:lnTo>
                  <a:lnTo>
                    <a:pt x="893" y="510"/>
                  </a:lnTo>
                  <a:lnTo>
                    <a:pt x="906" y="515"/>
                  </a:lnTo>
                  <a:lnTo>
                    <a:pt x="916" y="516"/>
                  </a:lnTo>
                  <a:lnTo>
                    <a:pt x="923" y="513"/>
                  </a:lnTo>
                  <a:lnTo>
                    <a:pt x="929" y="506"/>
                  </a:lnTo>
                  <a:lnTo>
                    <a:pt x="934" y="493"/>
                  </a:lnTo>
                  <a:lnTo>
                    <a:pt x="946" y="452"/>
                  </a:lnTo>
                  <a:lnTo>
                    <a:pt x="958" y="412"/>
                  </a:lnTo>
                  <a:lnTo>
                    <a:pt x="959" y="399"/>
                  </a:lnTo>
                  <a:lnTo>
                    <a:pt x="957" y="389"/>
                  </a:lnTo>
                  <a:lnTo>
                    <a:pt x="950" y="380"/>
                  </a:lnTo>
                  <a:lnTo>
                    <a:pt x="939" y="374"/>
                  </a:lnTo>
                  <a:lnTo>
                    <a:pt x="908" y="362"/>
                  </a:lnTo>
                  <a:lnTo>
                    <a:pt x="875" y="352"/>
                  </a:lnTo>
                  <a:lnTo>
                    <a:pt x="842" y="345"/>
                  </a:lnTo>
                  <a:lnTo>
                    <a:pt x="826" y="343"/>
                  </a:lnTo>
                  <a:lnTo>
                    <a:pt x="813" y="340"/>
                  </a:lnTo>
                  <a:lnTo>
                    <a:pt x="805" y="335"/>
                  </a:lnTo>
                  <a:lnTo>
                    <a:pt x="800" y="330"/>
                  </a:lnTo>
                  <a:lnTo>
                    <a:pt x="798" y="322"/>
                  </a:lnTo>
                  <a:lnTo>
                    <a:pt x="797" y="310"/>
                  </a:lnTo>
                  <a:lnTo>
                    <a:pt x="797" y="293"/>
                  </a:lnTo>
                  <a:lnTo>
                    <a:pt x="797" y="270"/>
                  </a:lnTo>
                  <a:lnTo>
                    <a:pt x="795" y="253"/>
                  </a:lnTo>
                  <a:lnTo>
                    <a:pt x="792" y="242"/>
                  </a:lnTo>
                  <a:lnTo>
                    <a:pt x="785" y="235"/>
                  </a:lnTo>
                  <a:lnTo>
                    <a:pt x="774" y="231"/>
                  </a:lnTo>
                  <a:lnTo>
                    <a:pt x="757" y="230"/>
                  </a:lnTo>
                  <a:lnTo>
                    <a:pt x="733" y="230"/>
                  </a:lnTo>
                  <a:lnTo>
                    <a:pt x="706" y="230"/>
                  </a:lnTo>
                  <a:close/>
                  <a:moveTo>
                    <a:pt x="733" y="0"/>
                  </a:moveTo>
                  <a:lnTo>
                    <a:pt x="800" y="3"/>
                  </a:lnTo>
                  <a:lnTo>
                    <a:pt x="865" y="11"/>
                  </a:lnTo>
                  <a:lnTo>
                    <a:pt x="928" y="25"/>
                  </a:lnTo>
                  <a:lnTo>
                    <a:pt x="989" y="46"/>
                  </a:lnTo>
                  <a:lnTo>
                    <a:pt x="1047" y="70"/>
                  </a:lnTo>
                  <a:lnTo>
                    <a:pt x="1103" y="99"/>
                  </a:lnTo>
                  <a:lnTo>
                    <a:pt x="1156" y="134"/>
                  </a:lnTo>
                  <a:lnTo>
                    <a:pt x="1205" y="172"/>
                  </a:lnTo>
                  <a:lnTo>
                    <a:pt x="1251" y="214"/>
                  </a:lnTo>
                  <a:lnTo>
                    <a:pt x="1293" y="260"/>
                  </a:lnTo>
                  <a:lnTo>
                    <a:pt x="1332" y="310"/>
                  </a:lnTo>
                  <a:lnTo>
                    <a:pt x="1365" y="363"/>
                  </a:lnTo>
                  <a:lnTo>
                    <a:pt x="1395" y="419"/>
                  </a:lnTo>
                  <a:lnTo>
                    <a:pt x="1420" y="476"/>
                  </a:lnTo>
                  <a:lnTo>
                    <a:pt x="1439" y="537"/>
                  </a:lnTo>
                  <a:lnTo>
                    <a:pt x="1453" y="601"/>
                  </a:lnTo>
                  <a:lnTo>
                    <a:pt x="1462" y="666"/>
                  </a:lnTo>
                  <a:lnTo>
                    <a:pt x="1465" y="732"/>
                  </a:lnTo>
                  <a:lnTo>
                    <a:pt x="1462" y="799"/>
                  </a:lnTo>
                  <a:lnTo>
                    <a:pt x="1453" y="865"/>
                  </a:lnTo>
                  <a:lnTo>
                    <a:pt x="1439" y="928"/>
                  </a:lnTo>
                  <a:lnTo>
                    <a:pt x="1420" y="988"/>
                  </a:lnTo>
                  <a:lnTo>
                    <a:pt x="1395" y="1047"/>
                  </a:lnTo>
                  <a:lnTo>
                    <a:pt x="1365" y="1103"/>
                  </a:lnTo>
                  <a:lnTo>
                    <a:pt x="1332" y="1156"/>
                  </a:lnTo>
                  <a:lnTo>
                    <a:pt x="1293" y="1205"/>
                  </a:lnTo>
                  <a:lnTo>
                    <a:pt x="1251" y="1251"/>
                  </a:lnTo>
                  <a:lnTo>
                    <a:pt x="1205" y="1294"/>
                  </a:lnTo>
                  <a:lnTo>
                    <a:pt x="1156" y="1332"/>
                  </a:lnTo>
                  <a:lnTo>
                    <a:pt x="1103" y="1366"/>
                  </a:lnTo>
                  <a:lnTo>
                    <a:pt x="1047" y="1395"/>
                  </a:lnTo>
                  <a:lnTo>
                    <a:pt x="989" y="1420"/>
                  </a:lnTo>
                  <a:lnTo>
                    <a:pt x="928" y="1440"/>
                  </a:lnTo>
                  <a:lnTo>
                    <a:pt x="865" y="1454"/>
                  </a:lnTo>
                  <a:lnTo>
                    <a:pt x="800" y="1463"/>
                  </a:lnTo>
                  <a:lnTo>
                    <a:pt x="733" y="1466"/>
                  </a:lnTo>
                  <a:lnTo>
                    <a:pt x="667" y="1463"/>
                  </a:lnTo>
                  <a:lnTo>
                    <a:pt x="602" y="1454"/>
                  </a:lnTo>
                  <a:lnTo>
                    <a:pt x="538" y="1440"/>
                  </a:lnTo>
                  <a:lnTo>
                    <a:pt x="477" y="1420"/>
                  </a:lnTo>
                  <a:lnTo>
                    <a:pt x="419" y="1395"/>
                  </a:lnTo>
                  <a:lnTo>
                    <a:pt x="363" y="1366"/>
                  </a:lnTo>
                  <a:lnTo>
                    <a:pt x="310" y="1332"/>
                  </a:lnTo>
                  <a:lnTo>
                    <a:pt x="261" y="1294"/>
                  </a:lnTo>
                  <a:lnTo>
                    <a:pt x="215" y="1251"/>
                  </a:lnTo>
                  <a:lnTo>
                    <a:pt x="173" y="1205"/>
                  </a:lnTo>
                  <a:lnTo>
                    <a:pt x="134" y="1156"/>
                  </a:lnTo>
                  <a:lnTo>
                    <a:pt x="101" y="1103"/>
                  </a:lnTo>
                  <a:lnTo>
                    <a:pt x="71" y="1047"/>
                  </a:lnTo>
                  <a:lnTo>
                    <a:pt x="46" y="988"/>
                  </a:lnTo>
                  <a:lnTo>
                    <a:pt x="27" y="928"/>
                  </a:lnTo>
                  <a:lnTo>
                    <a:pt x="13" y="865"/>
                  </a:lnTo>
                  <a:lnTo>
                    <a:pt x="3" y="799"/>
                  </a:lnTo>
                  <a:lnTo>
                    <a:pt x="0" y="732"/>
                  </a:lnTo>
                  <a:lnTo>
                    <a:pt x="3" y="669"/>
                  </a:lnTo>
                  <a:lnTo>
                    <a:pt x="12" y="606"/>
                  </a:lnTo>
                  <a:lnTo>
                    <a:pt x="25" y="545"/>
                  </a:lnTo>
                  <a:lnTo>
                    <a:pt x="43" y="488"/>
                  </a:lnTo>
                  <a:lnTo>
                    <a:pt x="65" y="431"/>
                  </a:lnTo>
                  <a:lnTo>
                    <a:pt x="93" y="377"/>
                  </a:lnTo>
                  <a:lnTo>
                    <a:pt x="124" y="325"/>
                  </a:lnTo>
                  <a:lnTo>
                    <a:pt x="159" y="277"/>
                  </a:lnTo>
                  <a:lnTo>
                    <a:pt x="199" y="231"/>
                  </a:lnTo>
                  <a:lnTo>
                    <a:pt x="240" y="191"/>
                  </a:lnTo>
                  <a:lnTo>
                    <a:pt x="285" y="153"/>
                  </a:lnTo>
                  <a:lnTo>
                    <a:pt x="333" y="119"/>
                  </a:lnTo>
                  <a:lnTo>
                    <a:pt x="383" y="88"/>
                  </a:lnTo>
                  <a:lnTo>
                    <a:pt x="437" y="62"/>
                  </a:lnTo>
                  <a:lnTo>
                    <a:pt x="493" y="40"/>
                  </a:lnTo>
                  <a:lnTo>
                    <a:pt x="550" y="23"/>
                  </a:lnTo>
                  <a:lnTo>
                    <a:pt x="609" y="10"/>
                  </a:lnTo>
                  <a:lnTo>
                    <a:pt x="671" y="2"/>
                  </a:lnTo>
                  <a:lnTo>
                    <a:pt x="7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9" name="Group 362">
            <a:extLst>
              <a:ext uri="{FF2B5EF4-FFF2-40B4-BE49-F238E27FC236}">
                <a16:creationId xmlns:a16="http://schemas.microsoft.com/office/drawing/2014/main" id="{F867E09F-3AC4-1E3A-E7E6-FF3FF6D06B9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29743" y="4035642"/>
            <a:ext cx="254368" cy="418903"/>
            <a:chOff x="1874" y="952"/>
            <a:chExt cx="1900" cy="3129"/>
          </a:xfrm>
          <a:solidFill>
            <a:schemeClr val="bg1"/>
          </a:solidFill>
        </p:grpSpPr>
        <p:sp>
          <p:nvSpPr>
            <p:cNvPr id="80" name="Freeform 364">
              <a:extLst>
                <a:ext uri="{FF2B5EF4-FFF2-40B4-BE49-F238E27FC236}">
                  <a16:creationId xmlns:a16="http://schemas.microsoft.com/office/drawing/2014/main" id="{71FD4ECA-8C71-3567-92E2-C0CF4BBF8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9" y="952"/>
              <a:ext cx="185" cy="228"/>
            </a:xfrm>
            <a:custGeom>
              <a:avLst/>
              <a:gdLst>
                <a:gd name="T0" fmla="*/ 186 w 371"/>
                <a:gd name="T1" fmla="*/ 0 h 456"/>
                <a:gd name="T2" fmla="*/ 228 w 371"/>
                <a:gd name="T3" fmla="*/ 6 h 456"/>
                <a:gd name="T4" fmla="*/ 268 w 371"/>
                <a:gd name="T5" fmla="*/ 19 h 456"/>
                <a:gd name="T6" fmla="*/ 302 w 371"/>
                <a:gd name="T7" fmla="*/ 40 h 456"/>
                <a:gd name="T8" fmla="*/ 331 w 371"/>
                <a:gd name="T9" fmla="*/ 70 h 456"/>
                <a:gd name="T10" fmla="*/ 352 w 371"/>
                <a:gd name="T11" fmla="*/ 105 h 456"/>
                <a:gd name="T12" fmla="*/ 367 w 371"/>
                <a:gd name="T13" fmla="*/ 143 h 456"/>
                <a:gd name="T14" fmla="*/ 371 w 371"/>
                <a:gd name="T15" fmla="*/ 186 h 456"/>
                <a:gd name="T16" fmla="*/ 371 w 371"/>
                <a:gd name="T17" fmla="*/ 456 h 456"/>
                <a:gd name="T18" fmla="*/ 0 w 371"/>
                <a:gd name="T19" fmla="*/ 456 h 456"/>
                <a:gd name="T20" fmla="*/ 0 w 371"/>
                <a:gd name="T21" fmla="*/ 186 h 456"/>
                <a:gd name="T22" fmla="*/ 6 w 371"/>
                <a:gd name="T23" fmla="*/ 143 h 456"/>
                <a:gd name="T24" fmla="*/ 19 w 371"/>
                <a:gd name="T25" fmla="*/ 105 h 456"/>
                <a:gd name="T26" fmla="*/ 40 w 371"/>
                <a:gd name="T27" fmla="*/ 70 h 456"/>
                <a:gd name="T28" fmla="*/ 71 w 371"/>
                <a:gd name="T29" fmla="*/ 40 h 456"/>
                <a:gd name="T30" fmla="*/ 105 w 371"/>
                <a:gd name="T31" fmla="*/ 19 h 456"/>
                <a:gd name="T32" fmla="*/ 143 w 371"/>
                <a:gd name="T33" fmla="*/ 6 h 456"/>
                <a:gd name="T34" fmla="*/ 186 w 371"/>
                <a:gd name="T35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1" h="456">
                  <a:moveTo>
                    <a:pt x="186" y="0"/>
                  </a:moveTo>
                  <a:lnTo>
                    <a:pt x="228" y="6"/>
                  </a:lnTo>
                  <a:lnTo>
                    <a:pt x="268" y="19"/>
                  </a:lnTo>
                  <a:lnTo>
                    <a:pt x="302" y="40"/>
                  </a:lnTo>
                  <a:lnTo>
                    <a:pt x="331" y="70"/>
                  </a:lnTo>
                  <a:lnTo>
                    <a:pt x="352" y="105"/>
                  </a:lnTo>
                  <a:lnTo>
                    <a:pt x="367" y="143"/>
                  </a:lnTo>
                  <a:lnTo>
                    <a:pt x="371" y="186"/>
                  </a:lnTo>
                  <a:lnTo>
                    <a:pt x="371" y="456"/>
                  </a:lnTo>
                  <a:lnTo>
                    <a:pt x="0" y="456"/>
                  </a:lnTo>
                  <a:lnTo>
                    <a:pt x="0" y="186"/>
                  </a:lnTo>
                  <a:lnTo>
                    <a:pt x="6" y="143"/>
                  </a:lnTo>
                  <a:lnTo>
                    <a:pt x="19" y="105"/>
                  </a:lnTo>
                  <a:lnTo>
                    <a:pt x="40" y="70"/>
                  </a:lnTo>
                  <a:lnTo>
                    <a:pt x="71" y="40"/>
                  </a:lnTo>
                  <a:lnTo>
                    <a:pt x="105" y="19"/>
                  </a:lnTo>
                  <a:lnTo>
                    <a:pt x="143" y="6"/>
                  </a:lnTo>
                  <a:lnTo>
                    <a:pt x="18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1" name="Freeform 365">
              <a:extLst>
                <a:ext uri="{FF2B5EF4-FFF2-40B4-BE49-F238E27FC236}">
                  <a16:creationId xmlns:a16="http://schemas.microsoft.com/office/drawing/2014/main" id="{98D0C3A4-4780-156D-207E-1F463ED0A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5" y="1276"/>
              <a:ext cx="1899" cy="624"/>
            </a:xfrm>
            <a:custGeom>
              <a:avLst/>
              <a:gdLst>
                <a:gd name="T0" fmla="*/ 42 w 3798"/>
                <a:gd name="T1" fmla="*/ 0 h 1247"/>
                <a:gd name="T2" fmla="*/ 3339 w 3798"/>
                <a:gd name="T3" fmla="*/ 0 h 1247"/>
                <a:gd name="T4" fmla="*/ 3377 w 3798"/>
                <a:gd name="T5" fmla="*/ 3 h 1247"/>
                <a:gd name="T6" fmla="*/ 3411 w 3798"/>
                <a:gd name="T7" fmla="*/ 17 h 1247"/>
                <a:gd name="T8" fmla="*/ 3441 w 3798"/>
                <a:gd name="T9" fmla="*/ 39 h 1247"/>
                <a:gd name="T10" fmla="*/ 3466 w 3798"/>
                <a:gd name="T11" fmla="*/ 68 h 1247"/>
                <a:gd name="T12" fmla="*/ 3779 w 3798"/>
                <a:gd name="T13" fmla="*/ 559 h 1247"/>
                <a:gd name="T14" fmla="*/ 3795 w 3798"/>
                <a:gd name="T15" fmla="*/ 591 h 1247"/>
                <a:gd name="T16" fmla="*/ 3798 w 3798"/>
                <a:gd name="T17" fmla="*/ 623 h 1247"/>
                <a:gd name="T18" fmla="*/ 3795 w 3798"/>
                <a:gd name="T19" fmla="*/ 658 h 1247"/>
                <a:gd name="T20" fmla="*/ 3779 w 3798"/>
                <a:gd name="T21" fmla="*/ 688 h 1247"/>
                <a:gd name="T22" fmla="*/ 3466 w 3798"/>
                <a:gd name="T23" fmla="*/ 1179 h 1247"/>
                <a:gd name="T24" fmla="*/ 3441 w 3798"/>
                <a:gd name="T25" fmla="*/ 1207 h 1247"/>
                <a:gd name="T26" fmla="*/ 3411 w 3798"/>
                <a:gd name="T27" fmla="*/ 1230 h 1247"/>
                <a:gd name="T28" fmla="*/ 3377 w 3798"/>
                <a:gd name="T29" fmla="*/ 1243 h 1247"/>
                <a:gd name="T30" fmla="*/ 3339 w 3798"/>
                <a:gd name="T31" fmla="*/ 1247 h 1247"/>
                <a:gd name="T32" fmla="*/ 42 w 3798"/>
                <a:gd name="T33" fmla="*/ 1247 h 1247"/>
                <a:gd name="T34" fmla="*/ 25 w 3798"/>
                <a:gd name="T35" fmla="*/ 1243 h 1247"/>
                <a:gd name="T36" fmla="*/ 9 w 3798"/>
                <a:gd name="T37" fmla="*/ 1232 h 1247"/>
                <a:gd name="T38" fmla="*/ 2 w 3798"/>
                <a:gd name="T39" fmla="*/ 1217 h 1247"/>
                <a:gd name="T40" fmla="*/ 0 w 3798"/>
                <a:gd name="T41" fmla="*/ 1200 h 1247"/>
                <a:gd name="T42" fmla="*/ 6 w 3798"/>
                <a:gd name="T43" fmla="*/ 1181 h 1247"/>
                <a:gd name="T44" fmla="*/ 348 w 3798"/>
                <a:gd name="T45" fmla="*/ 648 h 1247"/>
                <a:gd name="T46" fmla="*/ 353 w 3798"/>
                <a:gd name="T47" fmla="*/ 633 h 1247"/>
                <a:gd name="T48" fmla="*/ 353 w 3798"/>
                <a:gd name="T49" fmla="*/ 616 h 1247"/>
                <a:gd name="T50" fmla="*/ 348 w 3798"/>
                <a:gd name="T51" fmla="*/ 600 h 1247"/>
                <a:gd name="T52" fmla="*/ 6 w 3798"/>
                <a:gd name="T53" fmla="*/ 66 h 1247"/>
                <a:gd name="T54" fmla="*/ 0 w 3798"/>
                <a:gd name="T55" fmla="*/ 47 h 1247"/>
                <a:gd name="T56" fmla="*/ 0 w 3798"/>
                <a:gd name="T57" fmla="*/ 30 h 1247"/>
                <a:gd name="T58" fmla="*/ 9 w 3798"/>
                <a:gd name="T59" fmla="*/ 15 h 1247"/>
                <a:gd name="T60" fmla="*/ 23 w 3798"/>
                <a:gd name="T61" fmla="*/ 3 h 1247"/>
                <a:gd name="T62" fmla="*/ 42 w 3798"/>
                <a:gd name="T63" fmla="*/ 0 h 1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98" h="1247">
                  <a:moveTo>
                    <a:pt x="42" y="0"/>
                  </a:moveTo>
                  <a:lnTo>
                    <a:pt x="3339" y="0"/>
                  </a:lnTo>
                  <a:lnTo>
                    <a:pt x="3377" y="3"/>
                  </a:lnTo>
                  <a:lnTo>
                    <a:pt x="3411" y="17"/>
                  </a:lnTo>
                  <a:lnTo>
                    <a:pt x="3441" y="39"/>
                  </a:lnTo>
                  <a:lnTo>
                    <a:pt x="3466" y="68"/>
                  </a:lnTo>
                  <a:lnTo>
                    <a:pt x="3779" y="559"/>
                  </a:lnTo>
                  <a:lnTo>
                    <a:pt x="3795" y="591"/>
                  </a:lnTo>
                  <a:lnTo>
                    <a:pt x="3798" y="623"/>
                  </a:lnTo>
                  <a:lnTo>
                    <a:pt x="3795" y="658"/>
                  </a:lnTo>
                  <a:lnTo>
                    <a:pt x="3779" y="688"/>
                  </a:lnTo>
                  <a:lnTo>
                    <a:pt x="3466" y="1179"/>
                  </a:lnTo>
                  <a:lnTo>
                    <a:pt x="3441" y="1207"/>
                  </a:lnTo>
                  <a:lnTo>
                    <a:pt x="3411" y="1230"/>
                  </a:lnTo>
                  <a:lnTo>
                    <a:pt x="3377" y="1243"/>
                  </a:lnTo>
                  <a:lnTo>
                    <a:pt x="3339" y="1247"/>
                  </a:lnTo>
                  <a:lnTo>
                    <a:pt x="42" y="1247"/>
                  </a:lnTo>
                  <a:lnTo>
                    <a:pt x="25" y="1243"/>
                  </a:lnTo>
                  <a:lnTo>
                    <a:pt x="9" y="1232"/>
                  </a:lnTo>
                  <a:lnTo>
                    <a:pt x="2" y="1217"/>
                  </a:lnTo>
                  <a:lnTo>
                    <a:pt x="0" y="1200"/>
                  </a:lnTo>
                  <a:lnTo>
                    <a:pt x="6" y="1181"/>
                  </a:lnTo>
                  <a:lnTo>
                    <a:pt x="348" y="648"/>
                  </a:lnTo>
                  <a:lnTo>
                    <a:pt x="353" y="633"/>
                  </a:lnTo>
                  <a:lnTo>
                    <a:pt x="353" y="616"/>
                  </a:lnTo>
                  <a:lnTo>
                    <a:pt x="348" y="600"/>
                  </a:lnTo>
                  <a:lnTo>
                    <a:pt x="6" y="66"/>
                  </a:lnTo>
                  <a:lnTo>
                    <a:pt x="0" y="47"/>
                  </a:lnTo>
                  <a:lnTo>
                    <a:pt x="0" y="30"/>
                  </a:lnTo>
                  <a:lnTo>
                    <a:pt x="9" y="15"/>
                  </a:lnTo>
                  <a:lnTo>
                    <a:pt x="23" y="3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2" name="Freeform 366">
              <a:extLst>
                <a:ext uri="{FF2B5EF4-FFF2-40B4-BE49-F238E27FC236}">
                  <a16:creationId xmlns:a16="http://schemas.microsoft.com/office/drawing/2014/main" id="{4A310E0A-A7DE-2BEC-DA48-FE7202D639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0" y="2215"/>
              <a:ext cx="764" cy="625"/>
            </a:xfrm>
            <a:custGeom>
              <a:avLst/>
              <a:gdLst>
                <a:gd name="T0" fmla="*/ 0 w 1529"/>
                <a:gd name="T1" fmla="*/ 0 h 1249"/>
                <a:gd name="T2" fmla="*/ 1488 w 1529"/>
                <a:gd name="T3" fmla="*/ 0 h 1249"/>
                <a:gd name="T4" fmla="*/ 1505 w 1529"/>
                <a:gd name="T5" fmla="*/ 3 h 1249"/>
                <a:gd name="T6" fmla="*/ 1520 w 1529"/>
                <a:gd name="T7" fmla="*/ 15 h 1249"/>
                <a:gd name="T8" fmla="*/ 1527 w 1529"/>
                <a:gd name="T9" fmla="*/ 30 h 1249"/>
                <a:gd name="T10" fmla="*/ 1529 w 1529"/>
                <a:gd name="T11" fmla="*/ 49 h 1249"/>
                <a:gd name="T12" fmla="*/ 1524 w 1529"/>
                <a:gd name="T13" fmla="*/ 66 h 1249"/>
                <a:gd name="T14" fmla="*/ 1180 w 1529"/>
                <a:gd name="T15" fmla="*/ 601 h 1249"/>
                <a:gd name="T16" fmla="*/ 1174 w 1529"/>
                <a:gd name="T17" fmla="*/ 616 h 1249"/>
                <a:gd name="T18" fmla="*/ 1174 w 1529"/>
                <a:gd name="T19" fmla="*/ 631 h 1249"/>
                <a:gd name="T20" fmla="*/ 1180 w 1529"/>
                <a:gd name="T21" fmla="*/ 646 h 1249"/>
                <a:gd name="T22" fmla="*/ 1522 w 1529"/>
                <a:gd name="T23" fmla="*/ 1183 h 1249"/>
                <a:gd name="T24" fmla="*/ 1529 w 1529"/>
                <a:gd name="T25" fmla="*/ 1200 h 1249"/>
                <a:gd name="T26" fmla="*/ 1527 w 1529"/>
                <a:gd name="T27" fmla="*/ 1219 h 1249"/>
                <a:gd name="T28" fmla="*/ 1520 w 1529"/>
                <a:gd name="T29" fmla="*/ 1234 h 1249"/>
                <a:gd name="T30" fmla="*/ 1505 w 1529"/>
                <a:gd name="T31" fmla="*/ 1245 h 1249"/>
                <a:gd name="T32" fmla="*/ 1486 w 1529"/>
                <a:gd name="T33" fmla="*/ 1249 h 1249"/>
                <a:gd name="T34" fmla="*/ 0 w 1529"/>
                <a:gd name="T35" fmla="*/ 1249 h 1249"/>
                <a:gd name="T36" fmla="*/ 0 w 1529"/>
                <a:gd name="T37" fmla="*/ 0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29" h="1249">
                  <a:moveTo>
                    <a:pt x="0" y="0"/>
                  </a:moveTo>
                  <a:lnTo>
                    <a:pt x="1488" y="0"/>
                  </a:lnTo>
                  <a:lnTo>
                    <a:pt x="1505" y="3"/>
                  </a:lnTo>
                  <a:lnTo>
                    <a:pt x="1520" y="15"/>
                  </a:lnTo>
                  <a:lnTo>
                    <a:pt x="1527" y="30"/>
                  </a:lnTo>
                  <a:lnTo>
                    <a:pt x="1529" y="49"/>
                  </a:lnTo>
                  <a:lnTo>
                    <a:pt x="1524" y="66"/>
                  </a:lnTo>
                  <a:lnTo>
                    <a:pt x="1180" y="601"/>
                  </a:lnTo>
                  <a:lnTo>
                    <a:pt x="1174" y="616"/>
                  </a:lnTo>
                  <a:lnTo>
                    <a:pt x="1174" y="631"/>
                  </a:lnTo>
                  <a:lnTo>
                    <a:pt x="1180" y="646"/>
                  </a:lnTo>
                  <a:lnTo>
                    <a:pt x="1522" y="1183"/>
                  </a:lnTo>
                  <a:lnTo>
                    <a:pt x="1529" y="1200"/>
                  </a:lnTo>
                  <a:lnTo>
                    <a:pt x="1527" y="1219"/>
                  </a:lnTo>
                  <a:lnTo>
                    <a:pt x="1520" y="1234"/>
                  </a:lnTo>
                  <a:lnTo>
                    <a:pt x="1505" y="1245"/>
                  </a:lnTo>
                  <a:lnTo>
                    <a:pt x="1486" y="1249"/>
                  </a:lnTo>
                  <a:lnTo>
                    <a:pt x="0" y="124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3" name="Freeform 367">
              <a:extLst>
                <a:ext uri="{FF2B5EF4-FFF2-40B4-BE49-F238E27FC236}">
                  <a16:creationId xmlns:a16="http://schemas.microsoft.com/office/drawing/2014/main" id="{E30FA845-4781-EB84-5C3B-87C0E7451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4" y="2215"/>
              <a:ext cx="759" cy="625"/>
            </a:xfrm>
            <a:custGeom>
              <a:avLst/>
              <a:gdLst>
                <a:gd name="T0" fmla="*/ 460 w 1518"/>
                <a:gd name="T1" fmla="*/ 0 h 1249"/>
                <a:gd name="T2" fmla="*/ 1518 w 1518"/>
                <a:gd name="T3" fmla="*/ 0 h 1249"/>
                <a:gd name="T4" fmla="*/ 1518 w 1518"/>
                <a:gd name="T5" fmla="*/ 1249 h 1249"/>
                <a:gd name="T6" fmla="*/ 460 w 1518"/>
                <a:gd name="T7" fmla="*/ 1249 h 1249"/>
                <a:gd name="T8" fmla="*/ 422 w 1518"/>
                <a:gd name="T9" fmla="*/ 1243 h 1249"/>
                <a:gd name="T10" fmla="*/ 388 w 1518"/>
                <a:gd name="T11" fmla="*/ 1230 h 1249"/>
                <a:gd name="T12" fmla="*/ 357 w 1518"/>
                <a:gd name="T13" fmla="*/ 1209 h 1249"/>
                <a:gd name="T14" fmla="*/ 332 w 1518"/>
                <a:gd name="T15" fmla="*/ 1179 h 1249"/>
                <a:gd name="T16" fmla="*/ 19 w 1518"/>
                <a:gd name="T17" fmla="*/ 688 h 1249"/>
                <a:gd name="T18" fmla="*/ 6 w 1518"/>
                <a:gd name="T19" fmla="*/ 658 h 1249"/>
                <a:gd name="T20" fmla="*/ 0 w 1518"/>
                <a:gd name="T21" fmla="*/ 623 h 1249"/>
                <a:gd name="T22" fmla="*/ 6 w 1518"/>
                <a:gd name="T23" fmla="*/ 591 h 1249"/>
                <a:gd name="T24" fmla="*/ 19 w 1518"/>
                <a:gd name="T25" fmla="*/ 559 h 1249"/>
                <a:gd name="T26" fmla="*/ 332 w 1518"/>
                <a:gd name="T27" fmla="*/ 68 h 1249"/>
                <a:gd name="T28" fmla="*/ 357 w 1518"/>
                <a:gd name="T29" fmla="*/ 40 h 1249"/>
                <a:gd name="T30" fmla="*/ 388 w 1518"/>
                <a:gd name="T31" fmla="*/ 19 h 1249"/>
                <a:gd name="T32" fmla="*/ 422 w 1518"/>
                <a:gd name="T33" fmla="*/ 5 h 1249"/>
                <a:gd name="T34" fmla="*/ 460 w 1518"/>
                <a:gd name="T35" fmla="*/ 0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18" h="1249">
                  <a:moveTo>
                    <a:pt x="460" y="0"/>
                  </a:moveTo>
                  <a:lnTo>
                    <a:pt x="1518" y="0"/>
                  </a:lnTo>
                  <a:lnTo>
                    <a:pt x="1518" y="1249"/>
                  </a:lnTo>
                  <a:lnTo>
                    <a:pt x="460" y="1249"/>
                  </a:lnTo>
                  <a:lnTo>
                    <a:pt x="422" y="1243"/>
                  </a:lnTo>
                  <a:lnTo>
                    <a:pt x="388" y="1230"/>
                  </a:lnTo>
                  <a:lnTo>
                    <a:pt x="357" y="1209"/>
                  </a:lnTo>
                  <a:lnTo>
                    <a:pt x="332" y="1179"/>
                  </a:lnTo>
                  <a:lnTo>
                    <a:pt x="19" y="688"/>
                  </a:lnTo>
                  <a:lnTo>
                    <a:pt x="6" y="658"/>
                  </a:lnTo>
                  <a:lnTo>
                    <a:pt x="0" y="623"/>
                  </a:lnTo>
                  <a:lnTo>
                    <a:pt x="6" y="591"/>
                  </a:lnTo>
                  <a:lnTo>
                    <a:pt x="19" y="559"/>
                  </a:lnTo>
                  <a:lnTo>
                    <a:pt x="332" y="68"/>
                  </a:lnTo>
                  <a:lnTo>
                    <a:pt x="357" y="40"/>
                  </a:lnTo>
                  <a:lnTo>
                    <a:pt x="388" y="19"/>
                  </a:lnTo>
                  <a:lnTo>
                    <a:pt x="422" y="5"/>
                  </a:lnTo>
                  <a:lnTo>
                    <a:pt x="4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4" name="Freeform 368">
              <a:extLst>
                <a:ext uri="{FF2B5EF4-FFF2-40B4-BE49-F238E27FC236}">
                  <a16:creationId xmlns:a16="http://schemas.microsoft.com/office/drawing/2014/main" id="{974C5C08-FF3E-7346-E3A1-9392EC48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2" y="1996"/>
              <a:ext cx="838" cy="2085"/>
            </a:xfrm>
            <a:custGeom>
              <a:avLst/>
              <a:gdLst>
                <a:gd name="T0" fmla="*/ 653 w 1677"/>
                <a:gd name="T1" fmla="*/ 0 h 4171"/>
                <a:gd name="T2" fmla="*/ 1024 w 1677"/>
                <a:gd name="T3" fmla="*/ 0 h 4171"/>
                <a:gd name="T4" fmla="*/ 1024 w 1677"/>
                <a:gd name="T5" fmla="*/ 3522 h 4171"/>
                <a:gd name="T6" fmla="*/ 1424 w 1677"/>
                <a:gd name="T7" fmla="*/ 3522 h 4171"/>
                <a:gd name="T8" fmla="*/ 1476 w 1677"/>
                <a:gd name="T9" fmla="*/ 3526 h 4171"/>
                <a:gd name="T10" fmla="*/ 1523 w 1677"/>
                <a:gd name="T11" fmla="*/ 3541 h 4171"/>
                <a:gd name="T12" fmla="*/ 1565 w 1677"/>
                <a:gd name="T13" fmla="*/ 3564 h 4171"/>
                <a:gd name="T14" fmla="*/ 1603 w 1677"/>
                <a:gd name="T15" fmla="*/ 3597 h 4171"/>
                <a:gd name="T16" fmla="*/ 1633 w 1677"/>
                <a:gd name="T17" fmla="*/ 3633 h 4171"/>
                <a:gd name="T18" fmla="*/ 1656 w 1677"/>
                <a:gd name="T19" fmla="*/ 3676 h 4171"/>
                <a:gd name="T20" fmla="*/ 1671 w 1677"/>
                <a:gd name="T21" fmla="*/ 3724 h 4171"/>
                <a:gd name="T22" fmla="*/ 1677 w 1677"/>
                <a:gd name="T23" fmla="*/ 3773 h 4171"/>
                <a:gd name="T24" fmla="*/ 1677 w 1677"/>
                <a:gd name="T25" fmla="*/ 4171 h 4171"/>
                <a:gd name="T26" fmla="*/ 0 w 1677"/>
                <a:gd name="T27" fmla="*/ 4171 h 4171"/>
                <a:gd name="T28" fmla="*/ 0 w 1677"/>
                <a:gd name="T29" fmla="*/ 3773 h 4171"/>
                <a:gd name="T30" fmla="*/ 6 w 1677"/>
                <a:gd name="T31" fmla="*/ 3724 h 4171"/>
                <a:gd name="T32" fmla="*/ 21 w 1677"/>
                <a:gd name="T33" fmla="*/ 3676 h 4171"/>
                <a:gd name="T34" fmla="*/ 44 w 1677"/>
                <a:gd name="T35" fmla="*/ 3633 h 4171"/>
                <a:gd name="T36" fmla="*/ 74 w 1677"/>
                <a:gd name="T37" fmla="*/ 3597 h 4171"/>
                <a:gd name="T38" fmla="*/ 112 w 1677"/>
                <a:gd name="T39" fmla="*/ 3564 h 4171"/>
                <a:gd name="T40" fmla="*/ 154 w 1677"/>
                <a:gd name="T41" fmla="*/ 3541 h 4171"/>
                <a:gd name="T42" fmla="*/ 201 w 1677"/>
                <a:gd name="T43" fmla="*/ 3526 h 4171"/>
                <a:gd name="T44" fmla="*/ 253 w 1677"/>
                <a:gd name="T45" fmla="*/ 3522 h 4171"/>
                <a:gd name="T46" fmla="*/ 653 w 1677"/>
                <a:gd name="T47" fmla="*/ 3522 h 4171"/>
                <a:gd name="T48" fmla="*/ 653 w 1677"/>
                <a:gd name="T49" fmla="*/ 0 h 4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77" h="4171">
                  <a:moveTo>
                    <a:pt x="653" y="0"/>
                  </a:moveTo>
                  <a:lnTo>
                    <a:pt x="1024" y="0"/>
                  </a:lnTo>
                  <a:lnTo>
                    <a:pt x="1024" y="3522"/>
                  </a:lnTo>
                  <a:lnTo>
                    <a:pt x="1424" y="3522"/>
                  </a:lnTo>
                  <a:lnTo>
                    <a:pt x="1476" y="3526"/>
                  </a:lnTo>
                  <a:lnTo>
                    <a:pt x="1523" y="3541"/>
                  </a:lnTo>
                  <a:lnTo>
                    <a:pt x="1565" y="3564"/>
                  </a:lnTo>
                  <a:lnTo>
                    <a:pt x="1603" y="3597"/>
                  </a:lnTo>
                  <a:lnTo>
                    <a:pt x="1633" y="3633"/>
                  </a:lnTo>
                  <a:lnTo>
                    <a:pt x="1656" y="3676"/>
                  </a:lnTo>
                  <a:lnTo>
                    <a:pt x="1671" y="3724"/>
                  </a:lnTo>
                  <a:lnTo>
                    <a:pt x="1677" y="3773"/>
                  </a:lnTo>
                  <a:lnTo>
                    <a:pt x="1677" y="4171"/>
                  </a:lnTo>
                  <a:lnTo>
                    <a:pt x="0" y="4171"/>
                  </a:lnTo>
                  <a:lnTo>
                    <a:pt x="0" y="3773"/>
                  </a:lnTo>
                  <a:lnTo>
                    <a:pt x="6" y="3724"/>
                  </a:lnTo>
                  <a:lnTo>
                    <a:pt x="21" y="3676"/>
                  </a:lnTo>
                  <a:lnTo>
                    <a:pt x="44" y="3633"/>
                  </a:lnTo>
                  <a:lnTo>
                    <a:pt x="74" y="3597"/>
                  </a:lnTo>
                  <a:lnTo>
                    <a:pt x="112" y="3564"/>
                  </a:lnTo>
                  <a:lnTo>
                    <a:pt x="154" y="3541"/>
                  </a:lnTo>
                  <a:lnTo>
                    <a:pt x="201" y="3526"/>
                  </a:lnTo>
                  <a:lnTo>
                    <a:pt x="253" y="3522"/>
                  </a:lnTo>
                  <a:lnTo>
                    <a:pt x="653" y="3522"/>
                  </a:lnTo>
                  <a:lnTo>
                    <a:pt x="6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85" name="Group 68">
            <a:extLst>
              <a:ext uri="{FF2B5EF4-FFF2-40B4-BE49-F238E27FC236}">
                <a16:creationId xmlns:a16="http://schemas.microsoft.com/office/drawing/2014/main" id="{6A5773F9-281F-2745-6E24-FC25E05348A7}"/>
              </a:ext>
            </a:extLst>
          </p:cNvPr>
          <p:cNvGrpSpPr/>
          <p:nvPr/>
        </p:nvGrpSpPr>
        <p:grpSpPr>
          <a:xfrm>
            <a:off x="5984424" y="2599564"/>
            <a:ext cx="330926" cy="381995"/>
            <a:chOff x="3232150" y="3140075"/>
            <a:chExt cx="492126" cy="465138"/>
          </a:xfrm>
          <a:solidFill>
            <a:schemeClr val="bg1"/>
          </a:solidFill>
        </p:grpSpPr>
        <p:sp>
          <p:nvSpPr>
            <p:cNvPr id="86" name="Freeform 297">
              <a:extLst>
                <a:ext uri="{FF2B5EF4-FFF2-40B4-BE49-F238E27FC236}">
                  <a16:creationId xmlns:a16="http://schemas.microsoft.com/office/drawing/2014/main" id="{F8154024-5184-27C2-0CB6-76E3D93A5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75" y="3140075"/>
              <a:ext cx="152400" cy="153987"/>
            </a:xfrm>
            <a:custGeom>
              <a:avLst/>
              <a:gdLst>
                <a:gd name="T0" fmla="*/ 529 w 1059"/>
                <a:gd name="T1" fmla="*/ 0 h 1064"/>
                <a:gd name="T2" fmla="*/ 588 w 1059"/>
                <a:gd name="T3" fmla="*/ 4 h 1064"/>
                <a:gd name="T4" fmla="*/ 644 w 1059"/>
                <a:gd name="T5" fmla="*/ 13 h 1064"/>
                <a:gd name="T6" fmla="*/ 697 w 1059"/>
                <a:gd name="T7" fmla="*/ 29 h 1064"/>
                <a:gd name="T8" fmla="*/ 748 w 1059"/>
                <a:gd name="T9" fmla="*/ 48 h 1064"/>
                <a:gd name="T10" fmla="*/ 797 w 1059"/>
                <a:gd name="T11" fmla="*/ 73 h 1064"/>
                <a:gd name="T12" fmla="*/ 843 w 1059"/>
                <a:gd name="T13" fmla="*/ 103 h 1064"/>
                <a:gd name="T14" fmla="*/ 884 w 1059"/>
                <a:gd name="T15" fmla="*/ 138 h 1064"/>
                <a:gd name="T16" fmla="*/ 922 w 1059"/>
                <a:gd name="T17" fmla="*/ 176 h 1064"/>
                <a:gd name="T18" fmla="*/ 957 w 1059"/>
                <a:gd name="T19" fmla="*/ 219 h 1064"/>
                <a:gd name="T20" fmla="*/ 987 w 1059"/>
                <a:gd name="T21" fmla="*/ 265 h 1064"/>
                <a:gd name="T22" fmla="*/ 1013 w 1059"/>
                <a:gd name="T23" fmla="*/ 313 h 1064"/>
                <a:gd name="T24" fmla="*/ 1032 w 1059"/>
                <a:gd name="T25" fmla="*/ 365 h 1064"/>
                <a:gd name="T26" fmla="*/ 1047 w 1059"/>
                <a:gd name="T27" fmla="*/ 419 h 1064"/>
                <a:gd name="T28" fmla="*/ 1056 w 1059"/>
                <a:gd name="T29" fmla="*/ 475 h 1064"/>
                <a:gd name="T30" fmla="*/ 1059 w 1059"/>
                <a:gd name="T31" fmla="*/ 532 h 1064"/>
                <a:gd name="T32" fmla="*/ 1056 w 1059"/>
                <a:gd name="T33" fmla="*/ 590 h 1064"/>
                <a:gd name="T34" fmla="*/ 1047 w 1059"/>
                <a:gd name="T35" fmla="*/ 647 h 1064"/>
                <a:gd name="T36" fmla="*/ 1032 w 1059"/>
                <a:gd name="T37" fmla="*/ 701 h 1064"/>
                <a:gd name="T38" fmla="*/ 1013 w 1059"/>
                <a:gd name="T39" fmla="*/ 752 h 1064"/>
                <a:gd name="T40" fmla="*/ 987 w 1059"/>
                <a:gd name="T41" fmla="*/ 801 h 1064"/>
                <a:gd name="T42" fmla="*/ 957 w 1059"/>
                <a:gd name="T43" fmla="*/ 846 h 1064"/>
                <a:gd name="T44" fmla="*/ 922 w 1059"/>
                <a:gd name="T45" fmla="*/ 888 h 1064"/>
                <a:gd name="T46" fmla="*/ 884 w 1059"/>
                <a:gd name="T47" fmla="*/ 926 h 1064"/>
                <a:gd name="T48" fmla="*/ 843 w 1059"/>
                <a:gd name="T49" fmla="*/ 961 h 1064"/>
                <a:gd name="T50" fmla="*/ 797 w 1059"/>
                <a:gd name="T51" fmla="*/ 991 h 1064"/>
                <a:gd name="T52" fmla="*/ 748 w 1059"/>
                <a:gd name="T53" fmla="*/ 1017 h 1064"/>
                <a:gd name="T54" fmla="*/ 697 w 1059"/>
                <a:gd name="T55" fmla="*/ 1037 h 1064"/>
                <a:gd name="T56" fmla="*/ 644 w 1059"/>
                <a:gd name="T57" fmla="*/ 1051 h 1064"/>
                <a:gd name="T58" fmla="*/ 588 w 1059"/>
                <a:gd name="T59" fmla="*/ 1061 h 1064"/>
                <a:gd name="T60" fmla="*/ 529 w 1059"/>
                <a:gd name="T61" fmla="*/ 1064 h 1064"/>
                <a:gd name="T62" fmla="*/ 472 w 1059"/>
                <a:gd name="T63" fmla="*/ 1061 h 1064"/>
                <a:gd name="T64" fmla="*/ 416 w 1059"/>
                <a:gd name="T65" fmla="*/ 1051 h 1064"/>
                <a:gd name="T66" fmla="*/ 363 w 1059"/>
                <a:gd name="T67" fmla="*/ 1037 h 1064"/>
                <a:gd name="T68" fmla="*/ 312 w 1059"/>
                <a:gd name="T69" fmla="*/ 1017 h 1064"/>
                <a:gd name="T70" fmla="*/ 263 w 1059"/>
                <a:gd name="T71" fmla="*/ 991 h 1064"/>
                <a:gd name="T72" fmla="*/ 217 w 1059"/>
                <a:gd name="T73" fmla="*/ 961 h 1064"/>
                <a:gd name="T74" fmla="*/ 175 w 1059"/>
                <a:gd name="T75" fmla="*/ 926 h 1064"/>
                <a:gd name="T76" fmla="*/ 137 w 1059"/>
                <a:gd name="T77" fmla="*/ 888 h 1064"/>
                <a:gd name="T78" fmla="*/ 102 w 1059"/>
                <a:gd name="T79" fmla="*/ 846 h 1064"/>
                <a:gd name="T80" fmla="*/ 72 w 1059"/>
                <a:gd name="T81" fmla="*/ 801 h 1064"/>
                <a:gd name="T82" fmla="*/ 47 w 1059"/>
                <a:gd name="T83" fmla="*/ 752 h 1064"/>
                <a:gd name="T84" fmla="*/ 28 w 1059"/>
                <a:gd name="T85" fmla="*/ 701 h 1064"/>
                <a:gd name="T86" fmla="*/ 12 w 1059"/>
                <a:gd name="T87" fmla="*/ 647 h 1064"/>
                <a:gd name="T88" fmla="*/ 3 w 1059"/>
                <a:gd name="T89" fmla="*/ 590 h 1064"/>
                <a:gd name="T90" fmla="*/ 0 w 1059"/>
                <a:gd name="T91" fmla="*/ 532 h 1064"/>
                <a:gd name="T92" fmla="*/ 3 w 1059"/>
                <a:gd name="T93" fmla="*/ 475 h 1064"/>
                <a:gd name="T94" fmla="*/ 12 w 1059"/>
                <a:gd name="T95" fmla="*/ 419 h 1064"/>
                <a:gd name="T96" fmla="*/ 28 w 1059"/>
                <a:gd name="T97" fmla="*/ 365 h 1064"/>
                <a:gd name="T98" fmla="*/ 47 w 1059"/>
                <a:gd name="T99" fmla="*/ 313 h 1064"/>
                <a:gd name="T100" fmla="*/ 72 w 1059"/>
                <a:gd name="T101" fmla="*/ 265 h 1064"/>
                <a:gd name="T102" fmla="*/ 102 w 1059"/>
                <a:gd name="T103" fmla="*/ 219 h 1064"/>
                <a:gd name="T104" fmla="*/ 137 w 1059"/>
                <a:gd name="T105" fmla="*/ 176 h 1064"/>
                <a:gd name="T106" fmla="*/ 175 w 1059"/>
                <a:gd name="T107" fmla="*/ 138 h 1064"/>
                <a:gd name="T108" fmla="*/ 217 w 1059"/>
                <a:gd name="T109" fmla="*/ 103 h 1064"/>
                <a:gd name="T110" fmla="*/ 263 w 1059"/>
                <a:gd name="T111" fmla="*/ 73 h 1064"/>
                <a:gd name="T112" fmla="*/ 312 w 1059"/>
                <a:gd name="T113" fmla="*/ 48 h 1064"/>
                <a:gd name="T114" fmla="*/ 363 w 1059"/>
                <a:gd name="T115" fmla="*/ 29 h 1064"/>
                <a:gd name="T116" fmla="*/ 416 w 1059"/>
                <a:gd name="T117" fmla="*/ 13 h 1064"/>
                <a:gd name="T118" fmla="*/ 472 w 1059"/>
                <a:gd name="T119" fmla="*/ 4 h 1064"/>
                <a:gd name="T120" fmla="*/ 529 w 1059"/>
                <a:gd name="T121" fmla="*/ 0 h 1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59" h="1064">
                  <a:moveTo>
                    <a:pt x="529" y="0"/>
                  </a:moveTo>
                  <a:lnTo>
                    <a:pt x="588" y="4"/>
                  </a:lnTo>
                  <a:lnTo>
                    <a:pt x="644" y="13"/>
                  </a:lnTo>
                  <a:lnTo>
                    <a:pt x="697" y="29"/>
                  </a:lnTo>
                  <a:lnTo>
                    <a:pt x="748" y="48"/>
                  </a:lnTo>
                  <a:lnTo>
                    <a:pt x="797" y="73"/>
                  </a:lnTo>
                  <a:lnTo>
                    <a:pt x="843" y="103"/>
                  </a:lnTo>
                  <a:lnTo>
                    <a:pt x="884" y="138"/>
                  </a:lnTo>
                  <a:lnTo>
                    <a:pt x="922" y="176"/>
                  </a:lnTo>
                  <a:lnTo>
                    <a:pt x="957" y="219"/>
                  </a:lnTo>
                  <a:lnTo>
                    <a:pt x="987" y="265"/>
                  </a:lnTo>
                  <a:lnTo>
                    <a:pt x="1013" y="313"/>
                  </a:lnTo>
                  <a:lnTo>
                    <a:pt x="1032" y="365"/>
                  </a:lnTo>
                  <a:lnTo>
                    <a:pt x="1047" y="419"/>
                  </a:lnTo>
                  <a:lnTo>
                    <a:pt x="1056" y="475"/>
                  </a:lnTo>
                  <a:lnTo>
                    <a:pt x="1059" y="532"/>
                  </a:lnTo>
                  <a:lnTo>
                    <a:pt x="1056" y="590"/>
                  </a:lnTo>
                  <a:lnTo>
                    <a:pt x="1047" y="647"/>
                  </a:lnTo>
                  <a:lnTo>
                    <a:pt x="1032" y="701"/>
                  </a:lnTo>
                  <a:lnTo>
                    <a:pt x="1013" y="752"/>
                  </a:lnTo>
                  <a:lnTo>
                    <a:pt x="987" y="801"/>
                  </a:lnTo>
                  <a:lnTo>
                    <a:pt x="957" y="846"/>
                  </a:lnTo>
                  <a:lnTo>
                    <a:pt x="922" y="888"/>
                  </a:lnTo>
                  <a:lnTo>
                    <a:pt x="884" y="926"/>
                  </a:lnTo>
                  <a:lnTo>
                    <a:pt x="843" y="961"/>
                  </a:lnTo>
                  <a:lnTo>
                    <a:pt x="797" y="991"/>
                  </a:lnTo>
                  <a:lnTo>
                    <a:pt x="748" y="1017"/>
                  </a:lnTo>
                  <a:lnTo>
                    <a:pt x="697" y="1037"/>
                  </a:lnTo>
                  <a:lnTo>
                    <a:pt x="644" y="1051"/>
                  </a:lnTo>
                  <a:lnTo>
                    <a:pt x="588" y="1061"/>
                  </a:lnTo>
                  <a:lnTo>
                    <a:pt x="529" y="1064"/>
                  </a:lnTo>
                  <a:lnTo>
                    <a:pt x="472" y="1061"/>
                  </a:lnTo>
                  <a:lnTo>
                    <a:pt x="416" y="1051"/>
                  </a:lnTo>
                  <a:lnTo>
                    <a:pt x="363" y="1037"/>
                  </a:lnTo>
                  <a:lnTo>
                    <a:pt x="312" y="1017"/>
                  </a:lnTo>
                  <a:lnTo>
                    <a:pt x="263" y="991"/>
                  </a:lnTo>
                  <a:lnTo>
                    <a:pt x="217" y="961"/>
                  </a:lnTo>
                  <a:lnTo>
                    <a:pt x="175" y="926"/>
                  </a:lnTo>
                  <a:lnTo>
                    <a:pt x="137" y="888"/>
                  </a:lnTo>
                  <a:lnTo>
                    <a:pt x="102" y="846"/>
                  </a:lnTo>
                  <a:lnTo>
                    <a:pt x="72" y="801"/>
                  </a:lnTo>
                  <a:lnTo>
                    <a:pt x="47" y="752"/>
                  </a:lnTo>
                  <a:lnTo>
                    <a:pt x="28" y="701"/>
                  </a:lnTo>
                  <a:lnTo>
                    <a:pt x="12" y="647"/>
                  </a:lnTo>
                  <a:lnTo>
                    <a:pt x="3" y="590"/>
                  </a:lnTo>
                  <a:lnTo>
                    <a:pt x="0" y="532"/>
                  </a:lnTo>
                  <a:lnTo>
                    <a:pt x="3" y="475"/>
                  </a:lnTo>
                  <a:lnTo>
                    <a:pt x="12" y="419"/>
                  </a:lnTo>
                  <a:lnTo>
                    <a:pt x="28" y="365"/>
                  </a:lnTo>
                  <a:lnTo>
                    <a:pt x="47" y="313"/>
                  </a:lnTo>
                  <a:lnTo>
                    <a:pt x="72" y="265"/>
                  </a:lnTo>
                  <a:lnTo>
                    <a:pt x="102" y="219"/>
                  </a:lnTo>
                  <a:lnTo>
                    <a:pt x="137" y="176"/>
                  </a:lnTo>
                  <a:lnTo>
                    <a:pt x="175" y="138"/>
                  </a:lnTo>
                  <a:lnTo>
                    <a:pt x="217" y="103"/>
                  </a:lnTo>
                  <a:lnTo>
                    <a:pt x="263" y="73"/>
                  </a:lnTo>
                  <a:lnTo>
                    <a:pt x="312" y="48"/>
                  </a:lnTo>
                  <a:lnTo>
                    <a:pt x="363" y="29"/>
                  </a:lnTo>
                  <a:lnTo>
                    <a:pt x="416" y="13"/>
                  </a:lnTo>
                  <a:lnTo>
                    <a:pt x="472" y="4"/>
                  </a:lnTo>
                  <a:lnTo>
                    <a:pt x="5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7" name="Freeform 298">
              <a:extLst>
                <a:ext uri="{FF2B5EF4-FFF2-40B4-BE49-F238E27FC236}">
                  <a16:creationId xmlns:a16="http://schemas.microsoft.com/office/drawing/2014/main" id="{3BEA1765-1010-A452-1374-AEC4E3F95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6313" y="3405188"/>
              <a:ext cx="207963" cy="200025"/>
            </a:xfrm>
            <a:custGeom>
              <a:avLst/>
              <a:gdLst>
                <a:gd name="T0" fmla="*/ 728 w 1442"/>
                <a:gd name="T1" fmla="*/ 0 h 1381"/>
                <a:gd name="T2" fmla="*/ 746 w 1442"/>
                <a:gd name="T3" fmla="*/ 7 h 1381"/>
                <a:gd name="T4" fmla="*/ 763 w 1442"/>
                <a:gd name="T5" fmla="*/ 27 h 1381"/>
                <a:gd name="T6" fmla="*/ 900 w 1442"/>
                <a:gd name="T7" fmla="*/ 320 h 1381"/>
                <a:gd name="T8" fmla="*/ 936 w 1442"/>
                <a:gd name="T9" fmla="*/ 376 h 1381"/>
                <a:gd name="T10" fmla="*/ 987 w 1442"/>
                <a:gd name="T11" fmla="*/ 419 h 1381"/>
                <a:gd name="T12" fmla="*/ 1047 w 1442"/>
                <a:gd name="T13" fmla="*/ 446 h 1381"/>
                <a:gd name="T14" fmla="*/ 1401 w 1442"/>
                <a:gd name="T15" fmla="*/ 492 h 1381"/>
                <a:gd name="T16" fmla="*/ 1425 w 1442"/>
                <a:gd name="T17" fmla="*/ 502 h 1381"/>
                <a:gd name="T18" fmla="*/ 1438 w 1442"/>
                <a:gd name="T19" fmla="*/ 518 h 1381"/>
                <a:gd name="T20" fmla="*/ 1442 w 1442"/>
                <a:gd name="T21" fmla="*/ 530 h 1381"/>
                <a:gd name="T22" fmla="*/ 1441 w 1442"/>
                <a:gd name="T23" fmla="*/ 550 h 1381"/>
                <a:gd name="T24" fmla="*/ 1427 w 1442"/>
                <a:gd name="T25" fmla="*/ 573 h 1381"/>
                <a:gd name="T26" fmla="*/ 1168 w 1442"/>
                <a:gd name="T27" fmla="*/ 819 h 1381"/>
                <a:gd name="T28" fmla="*/ 1134 w 1442"/>
                <a:gd name="T29" fmla="*/ 876 h 1381"/>
                <a:gd name="T30" fmla="*/ 1118 w 1442"/>
                <a:gd name="T31" fmla="*/ 940 h 1381"/>
                <a:gd name="T32" fmla="*/ 1121 w 1442"/>
                <a:gd name="T33" fmla="*/ 1007 h 1381"/>
                <a:gd name="T34" fmla="*/ 1185 w 1442"/>
                <a:gd name="T35" fmla="*/ 1340 h 1381"/>
                <a:gd name="T36" fmla="*/ 1176 w 1442"/>
                <a:gd name="T37" fmla="*/ 1361 h 1381"/>
                <a:gd name="T38" fmla="*/ 1165 w 1442"/>
                <a:gd name="T39" fmla="*/ 1372 h 1381"/>
                <a:gd name="T40" fmla="*/ 1152 w 1442"/>
                <a:gd name="T41" fmla="*/ 1379 h 1381"/>
                <a:gd name="T42" fmla="*/ 1129 w 1442"/>
                <a:gd name="T43" fmla="*/ 1380 h 1381"/>
                <a:gd name="T44" fmla="*/ 832 w 1442"/>
                <a:gd name="T45" fmla="*/ 1218 h 1381"/>
                <a:gd name="T46" fmla="*/ 778 w 1442"/>
                <a:gd name="T47" fmla="*/ 1196 h 1381"/>
                <a:gd name="T48" fmla="*/ 721 w 1442"/>
                <a:gd name="T49" fmla="*/ 1189 h 1381"/>
                <a:gd name="T50" fmla="*/ 663 w 1442"/>
                <a:gd name="T51" fmla="*/ 1196 h 1381"/>
                <a:gd name="T52" fmla="*/ 609 w 1442"/>
                <a:gd name="T53" fmla="*/ 1218 h 1381"/>
                <a:gd name="T54" fmla="*/ 313 w 1442"/>
                <a:gd name="T55" fmla="*/ 1380 h 1381"/>
                <a:gd name="T56" fmla="*/ 290 w 1442"/>
                <a:gd name="T57" fmla="*/ 1379 h 1381"/>
                <a:gd name="T58" fmla="*/ 277 w 1442"/>
                <a:gd name="T59" fmla="*/ 1372 h 1381"/>
                <a:gd name="T60" fmla="*/ 265 w 1442"/>
                <a:gd name="T61" fmla="*/ 1361 h 1381"/>
                <a:gd name="T62" fmla="*/ 257 w 1442"/>
                <a:gd name="T63" fmla="*/ 1340 h 1381"/>
                <a:gd name="T64" fmla="*/ 320 w 1442"/>
                <a:gd name="T65" fmla="*/ 1007 h 1381"/>
                <a:gd name="T66" fmla="*/ 323 w 1442"/>
                <a:gd name="T67" fmla="*/ 940 h 1381"/>
                <a:gd name="T68" fmla="*/ 308 w 1442"/>
                <a:gd name="T69" fmla="*/ 876 h 1381"/>
                <a:gd name="T70" fmla="*/ 273 w 1442"/>
                <a:gd name="T71" fmla="*/ 819 h 1381"/>
                <a:gd name="T72" fmla="*/ 14 w 1442"/>
                <a:gd name="T73" fmla="*/ 573 h 1381"/>
                <a:gd name="T74" fmla="*/ 1 w 1442"/>
                <a:gd name="T75" fmla="*/ 550 h 1381"/>
                <a:gd name="T76" fmla="*/ 0 w 1442"/>
                <a:gd name="T77" fmla="*/ 530 h 1381"/>
                <a:gd name="T78" fmla="*/ 4 w 1442"/>
                <a:gd name="T79" fmla="*/ 518 h 1381"/>
                <a:gd name="T80" fmla="*/ 16 w 1442"/>
                <a:gd name="T81" fmla="*/ 502 h 1381"/>
                <a:gd name="T82" fmla="*/ 40 w 1442"/>
                <a:gd name="T83" fmla="*/ 492 h 1381"/>
                <a:gd name="T84" fmla="*/ 395 w 1442"/>
                <a:gd name="T85" fmla="*/ 446 h 1381"/>
                <a:gd name="T86" fmla="*/ 455 w 1442"/>
                <a:gd name="T87" fmla="*/ 419 h 1381"/>
                <a:gd name="T88" fmla="*/ 506 w 1442"/>
                <a:gd name="T89" fmla="*/ 376 h 1381"/>
                <a:gd name="T90" fmla="*/ 542 w 1442"/>
                <a:gd name="T91" fmla="*/ 320 h 1381"/>
                <a:gd name="T92" fmla="*/ 686 w 1442"/>
                <a:gd name="T93" fmla="*/ 14 h 1381"/>
                <a:gd name="T94" fmla="*/ 706 w 1442"/>
                <a:gd name="T95" fmla="*/ 2 h 1381"/>
                <a:gd name="T96" fmla="*/ 721 w 1442"/>
                <a:gd name="T97" fmla="*/ 0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42" h="1381">
                  <a:moveTo>
                    <a:pt x="721" y="0"/>
                  </a:moveTo>
                  <a:lnTo>
                    <a:pt x="728" y="0"/>
                  </a:lnTo>
                  <a:lnTo>
                    <a:pt x="737" y="2"/>
                  </a:lnTo>
                  <a:lnTo>
                    <a:pt x="746" y="7"/>
                  </a:lnTo>
                  <a:lnTo>
                    <a:pt x="756" y="14"/>
                  </a:lnTo>
                  <a:lnTo>
                    <a:pt x="763" y="27"/>
                  </a:lnTo>
                  <a:lnTo>
                    <a:pt x="763" y="27"/>
                  </a:lnTo>
                  <a:lnTo>
                    <a:pt x="900" y="320"/>
                  </a:lnTo>
                  <a:lnTo>
                    <a:pt x="916" y="350"/>
                  </a:lnTo>
                  <a:lnTo>
                    <a:pt x="936" y="376"/>
                  </a:lnTo>
                  <a:lnTo>
                    <a:pt x="960" y="400"/>
                  </a:lnTo>
                  <a:lnTo>
                    <a:pt x="987" y="419"/>
                  </a:lnTo>
                  <a:lnTo>
                    <a:pt x="1016" y="435"/>
                  </a:lnTo>
                  <a:lnTo>
                    <a:pt x="1047" y="446"/>
                  </a:lnTo>
                  <a:lnTo>
                    <a:pt x="1080" y="452"/>
                  </a:lnTo>
                  <a:lnTo>
                    <a:pt x="1401" y="492"/>
                  </a:lnTo>
                  <a:lnTo>
                    <a:pt x="1415" y="496"/>
                  </a:lnTo>
                  <a:lnTo>
                    <a:pt x="1425" y="502"/>
                  </a:lnTo>
                  <a:lnTo>
                    <a:pt x="1432" y="510"/>
                  </a:lnTo>
                  <a:lnTo>
                    <a:pt x="1438" y="518"/>
                  </a:lnTo>
                  <a:lnTo>
                    <a:pt x="1440" y="524"/>
                  </a:lnTo>
                  <a:lnTo>
                    <a:pt x="1442" y="530"/>
                  </a:lnTo>
                  <a:lnTo>
                    <a:pt x="1442" y="540"/>
                  </a:lnTo>
                  <a:lnTo>
                    <a:pt x="1441" y="550"/>
                  </a:lnTo>
                  <a:lnTo>
                    <a:pt x="1437" y="562"/>
                  </a:lnTo>
                  <a:lnTo>
                    <a:pt x="1427" y="573"/>
                  </a:lnTo>
                  <a:lnTo>
                    <a:pt x="1191" y="794"/>
                  </a:lnTo>
                  <a:lnTo>
                    <a:pt x="1168" y="819"/>
                  </a:lnTo>
                  <a:lnTo>
                    <a:pt x="1148" y="846"/>
                  </a:lnTo>
                  <a:lnTo>
                    <a:pt x="1134" y="876"/>
                  </a:lnTo>
                  <a:lnTo>
                    <a:pt x="1125" y="907"/>
                  </a:lnTo>
                  <a:lnTo>
                    <a:pt x="1118" y="940"/>
                  </a:lnTo>
                  <a:lnTo>
                    <a:pt x="1117" y="974"/>
                  </a:lnTo>
                  <a:lnTo>
                    <a:pt x="1121" y="1007"/>
                  </a:lnTo>
                  <a:lnTo>
                    <a:pt x="1184" y="1325"/>
                  </a:lnTo>
                  <a:lnTo>
                    <a:pt x="1185" y="1340"/>
                  </a:lnTo>
                  <a:lnTo>
                    <a:pt x="1182" y="1351"/>
                  </a:lnTo>
                  <a:lnTo>
                    <a:pt x="1176" y="1361"/>
                  </a:lnTo>
                  <a:lnTo>
                    <a:pt x="1170" y="1368"/>
                  </a:lnTo>
                  <a:lnTo>
                    <a:pt x="1165" y="1372"/>
                  </a:lnTo>
                  <a:lnTo>
                    <a:pt x="1160" y="1376"/>
                  </a:lnTo>
                  <a:lnTo>
                    <a:pt x="1152" y="1379"/>
                  </a:lnTo>
                  <a:lnTo>
                    <a:pt x="1141" y="1381"/>
                  </a:lnTo>
                  <a:lnTo>
                    <a:pt x="1129" y="1380"/>
                  </a:lnTo>
                  <a:lnTo>
                    <a:pt x="1115" y="1375"/>
                  </a:lnTo>
                  <a:lnTo>
                    <a:pt x="832" y="1218"/>
                  </a:lnTo>
                  <a:lnTo>
                    <a:pt x="805" y="1205"/>
                  </a:lnTo>
                  <a:lnTo>
                    <a:pt x="778" y="1196"/>
                  </a:lnTo>
                  <a:lnTo>
                    <a:pt x="749" y="1190"/>
                  </a:lnTo>
                  <a:lnTo>
                    <a:pt x="721" y="1189"/>
                  </a:lnTo>
                  <a:lnTo>
                    <a:pt x="692" y="1190"/>
                  </a:lnTo>
                  <a:lnTo>
                    <a:pt x="663" y="1196"/>
                  </a:lnTo>
                  <a:lnTo>
                    <a:pt x="636" y="1205"/>
                  </a:lnTo>
                  <a:lnTo>
                    <a:pt x="609" y="1218"/>
                  </a:lnTo>
                  <a:lnTo>
                    <a:pt x="326" y="1375"/>
                  </a:lnTo>
                  <a:lnTo>
                    <a:pt x="313" y="1380"/>
                  </a:lnTo>
                  <a:lnTo>
                    <a:pt x="300" y="1381"/>
                  </a:lnTo>
                  <a:lnTo>
                    <a:pt x="290" y="1379"/>
                  </a:lnTo>
                  <a:lnTo>
                    <a:pt x="282" y="1376"/>
                  </a:lnTo>
                  <a:lnTo>
                    <a:pt x="277" y="1372"/>
                  </a:lnTo>
                  <a:lnTo>
                    <a:pt x="271" y="1368"/>
                  </a:lnTo>
                  <a:lnTo>
                    <a:pt x="265" y="1361"/>
                  </a:lnTo>
                  <a:lnTo>
                    <a:pt x="260" y="1351"/>
                  </a:lnTo>
                  <a:lnTo>
                    <a:pt x="257" y="1340"/>
                  </a:lnTo>
                  <a:lnTo>
                    <a:pt x="258" y="1325"/>
                  </a:lnTo>
                  <a:lnTo>
                    <a:pt x="320" y="1007"/>
                  </a:lnTo>
                  <a:lnTo>
                    <a:pt x="324" y="974"/>
                  </a:lnTo>
                  <a:lnTo>
                    <a:pt x="323" y="940"/>
                  </a:lnTo>
                  <a:lnTo>
                    <a:pt x="318" y="907"/>
                  </a:lnTo>
                  <a:lnTo>
                    <a:pt x="308" y="876"/>
                  </a:lnTo>
                  <a:lnTo>
                    <a:pt x="293" y="846"/>
                  </a:lnTo>
                  <a:lnTo>
                    <a:pt x="273" y="819"/>
                  </a:lnTo>
                  <a:lnTo>
                    <a:pt x="251" y="794"/>
                  </a:lnTo>
                  <a:lnTo>
                    <a:pt x="14" y="573"/>
                  </a:lnTo>
                  <a:lnTo>
                    <a:pt x="5" y="562"/>
                  </a:lnTo>
                  <a:lnTo>
                    <a:pt x="1" y="550"/>
                  </a:lnTo>
                  <a:lnTo>
                    <a:pt x="0" y="540"/>
                  </a:lnTo>
                  <a:lnTo>
                    <a:pt x="0" y="530"/>
                  </a:lnTo>
                  <a:lnTo>
                    <a:pt x="2" y="524"/>
                  </a:lnTo>
                  <a:lnTo>
                    <a:pt x="4" y="518"/>
                  </a:lnTo>
                  <a:lnTo>
                    <a:pt x="9" y="510"/>
                  </a:lnTo>
                  <a:lnTo>
                    <a:pt x="16" y="502"/>
                  </a:lnTo>
                  <a:lnTo>
                    <a:pt x="27" y="496"/>
                  </a:lnTo>
                  <a:lnTo>
                    <a:pt x="40" y="492"/>
                  </a:lnTo>
                  <a:lnTo>
                    <a:pt x="362" y="452"/>
                  </a:lnTo>
                  <a:lnTo>
                    <a:pt x="395" y="446"/>
                  </a:lnTo>
                  <a:lnTo>
                    <a:pt x="426" y="435"/>
                  </a:lnTo>
                  <a:lnTo>
                    <a:pt x="455" y="419"/>
                  </a:lnTo>
                  <a:lnTo>
                    <a:pt x="482" y="400"/>
                  </a:lnTo>
                  <a:lnTo>
                    <a:pt x="506" y="376"/>
                  </a:lnTo>
                  <a:lnTo>
                    <a:pt x="525" y="350"/>
                  </a:lnTo>
                  <a:lnTo>
                    <a:pt x="542" y="320"/>
                  </a:lnTo>
                  <a:lnTo>
                    <a:pt x="679" y="27"/>
                  </a:lnTo>
                  <a:lnTo>
                    <a:pt x="686" y="14"/>
                  </a:lnTo>
                  <a:lnTo>
                    <a:pt x="695" y="7"/>
                  </a:lnTo>
                  <a:lnTo>
                    <a:pt x="706" y="2"/>
                  </a:lnTo>
                  <a:lnTo>
                    <a:pt x="714" y="0"/>
                  </a:lnTo>
                  <a:lnTo>
                    <a:pt x="7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8" name="Freeform 299">
              <a:extLst>
                <a:ext uri="{FF2B5EF4-FFF2-40B4-BE49-F238E27FC236}">
                  <a16:creationId xmlns:a16="http://schemas.microsoft.com/office/drawing/2014/main" id="{84DAB616-3F08-E990-6715-FE69D07CE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2150" y="3324225"/>
              <a:ext cx="298450" cy="204787"/>
            </a:xfrm>
            <a:custGeom>
              <a:avLst/>
              <a:gdLst>
                <a:gd name="T0" fmla="*/ 1462 w 2063"/>
                <a:gd name="T1" fmla="*/ 2 h 1421"/>
                <a:gd name="T2" fmla="*/ 1743 w 2063"/>
                <a:gd name="T3" fmla="*/ 49 h 1421"/>
                <a:gd name="T4" fmla="*/ 1833 w 2063"/>
                <a:gd name="T5" fmla="*/ 89 h 1421"/>
                <a:gd name="T6" fmla="*/ 1911 w 2063"/>
                <a:gd name="T7" fmla="*/ 147 h 1421"/>
                <a:gd name="T8" fmla="*/ 1975 w 2063"/>
                <a:gd name="T9" fmla="*/ 218 h 1421"/>
                <a:gd name="T10" fmla="*/ 2023 w 2063"/>
                <a:gd name="T11" fmla="*/ 302 h 1421"/>
                <a:gd name="T12" fmla="*/ 2053 w 2063"/>
                <a:gd name="T13" fmla="*/ 394 h 1421"/>
                <a:gd name="T14" fmla="*/ 2063 w 2063"/>
                <a:gd name="T15" fmla="*/ 493 h 1421"/>
                <a:gd name="T16" fmla="*/ 1991 w 2063"/>
                <a:gd name="T17" fmla="*/ 874 h 1421"/>
                <a:gd name="T18" fmla="*/ 1927 w 2063"/>
                <a:gd name="T19" fmla="*/ 891 h 1421"/>
                <a:gd name="T20" fmla="*/ 1872 w 2063"/>
                <a:gd name="T21" fmla="*/ 925 h 1421"/>
                <a:gd name="T22" fmla="*/ 1830 w 2063"/>
                <a:gd name="T23" fmla="*/ 973 h 1421"/>
                <a:gd name="T24" fmla="*/ 1801 w 2063"/>
                <a:gd name="T25" fmla="*/ 1032 h 1421"/>
                <a:gd name="T26" fmla="*/ 1789 w 2063"/>
                <a:gd name="T27" fmla="*/ 1097 h 1421"/>
                <a:gd name="T28" fmla="*/ 1797 w 2063"/>
                <a:gd name="T29" fmla="*/ 1161 h 1421"/>
                <a:gd name="T30" fmla="*/ 1820 w 2063"/>
                <a:gd name="T31" fmla="*/ 1221 h 1421"/>
                <a:gd name="T32" fmla="*/ 1863 w 2063"/>
                <a:gd name="T33" fmla="*/ 1272 h 1421"/>
                <a:gd name="T34" fmla="*/ 1956 w 2063"/>
                <a:gd name="T35" fmla="*/ 1399 h 1421"/>
                <a:gd name="T36" fmla="*/ 1898 w 2063"/>
                <a:gd name="T37" fmla="*/ 1419 h 1421"/>
                <a:gd name="T38" fmla="*/ 197 w 2063"/>
                <a:gd name="T39" fmla="*/ 1421 h 1421"/>
                <a:gd name="T40" fmla="*/ 129 w 2063"/>
                <a:gd name="T41" fmla="*/ 1409 h 1421"/>
                <a:gd name="T42" fmla="*/ 70 w 2063"/>
                <a:gd name="T43" fmla="*/ 1375 h 1421"/>
                <a:gd name="T44" fmla="*/ 27 w 2063"/>
                <a:gd name="T45" fmla="*/ 1323 h 1421"/>
                <a:gd name="T46" fmla="*/ 3 w 2063"/>
                <a:gd name="T47" fmla="*/ 1259 h 1421"/>
                <a:gd name="T48" fmla="*/ 0 w 2063"/>
                <a:gd name="T49" fmla="*/ 495 h 1421"/>
                <a:gd name="T50" fmla="*/ 10 w 2063"/>
                <a:gd name="T51" fmla="*/ 396 h 1421"/>
                <a:gd name="T52" fmla="*/ 40 w 2063"/>
                <a:gd name="T53" fmla="*/ 304 h 1421"/>
                <a:gd name="T54" fmla="*/ 89 w 2063"/>
                <a:gd name="T55" fmla="*/ 219 h 1421"/>
                <a:gd name="T56" fmla="*/ 152 w 2063"/>
                <a:gd name="T57" fmla="*/ 148 h 1421"/>
                <a:gd name="T58" fmla="*/ 231 w 2063"/>
                <a:gd name="T59" fmla="*/ 89 h 1421"/>
                <a:gd name="T60" fmla="*/ 322 w 2063"/>
                <a:gd name="T61" fmla="*/ 48 h 1421"/>
                <a:gd name="T62" fmla="*/ 335 w 2063"/>
                <a:gd name="T63" fmla="*/ 46 h 1421"/>
                <a:gd name="T64" fmla="*/ 367 w 2063"/>
                <a:gd name="T65" fmla="*/ 40 h 1421"/>
                <a:gd name="T66" fmla="*/ 414 w 2063"/>
                <a:gd name="T67" fmla="*/ 33 h 1421"/>
                <a:gd name="T68" fmla="*/ 468 w 2063"/>
                <a:gd name="T69" fmla="*/ 24 h 1421"/>
                <a:gd name="T70" fmla="*/ 521 w 2063"/>
                <a:gd name="T71" fmla="*/ 14 h 1421"/>
                <a:gd name="T72" fmla="*/ 568 w 2063"/>
                <a:gd name="T73" fmla="*/ 7 h 1421"/>
                <a:gd name="T74" fmla="*/ 602 w 2063"/>
                <a:gd name="T75" fmla="*/ 2 h 1421"/>
                <a:gd name="T76" fmla="*/ 616 w 2063"/>
                <a:gd name="T77" fmla="*/ 0 h 1421"/>
                <a:gd name="T78" fmla="*/ 643 w 2063"/>
                <a:gd name="T79" fmla="*/ 8 h 1421"/>
                <a:gd name="T80" fmla="*/ 660 w 2063"/>
                <a:gd name="T81" fmla="*/ 30 h 1421"/>
                <a:gd name="T82" fmla="*/ 986 w 2063"/>
                <a:gd name="T83" fmla="*/ 921 h 1421"/>
                <a:gd name="T84" fmla="*/ 1010 w 2063"/>
                <a:gd name="T85" fmla="*/ 939 h 1421"/>
                <a:gd name="T86" fmla="*/ 1039 w 2063"/>
                <a:gd name="T87" fmla="*/ 943 h 1421"/>
                <a:gd name="T88" fmla="*/ 1067 w 2063"/>
                <a:gd name="T89" fmla="*/ 932 h 1421"/>
                <a:gd name="T90" fmla="*/ 1085 w 2063"/>
                <a:gd name="T91" fmla="*/ 906 h 1421"/>
                <a:gd name="T92" fmla="*/ 1411 w 2063"/>
                <a:gd name="T93" fmla="*/ 18 h 1421"/>
                <a:gd name="T94" fmla="*/ 1434 w 2063"/>
                <a:gd name="T95" fmla="*/ 2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63" h="1421">
                  <a:moveTo>
                    <a:pt x="1447" y="0"/>
                  </a:moveTo>
                  <a:lnTo>
                    <a:pt x="1462" y="2"/>
                  </a:lnTo>
                  <a:lnTo>
                    <a:pt x="1742" y="48"/>
                  </a:lnTo>
                  <a:lnTo>
                    <a:pt x="1743" y="49"/>
                  </a:lnTo>
                  <a:lnTo>
                    <a:pt x="1789" y="66"/>
                  </a:lnTo>
                  <a:lnTo>
                    <a:pt x="1833" y="89"/>
                  </a:lnTo>
                  <a:lnTo>
                    <a:pt x="1873" y="116"/>
                  </a:lnTo>
                  <a:lnTo>
                    <a:pt x="1911" y="147"/>
                  </a:lnTo>
                  <a:lnTo>
                    <a:pt x="1945" y="181"/>
                  </a:lnTo>
                  <a:lnTo>
                    <a:pt x="1975" y="218"/>
                  </a:lnTo>
                  <a:lnTo>
                    <a:pt x="2001" y="259"/>
                  </a:lnTo>
                  <a:lnTo>
                    <a:pt x="2023" y="302"/>
                  </a:lnTo>
                  <a:lnTo>
                    <a:pt x="2040" y="347"/>
                  </a:lnTo>
                  <a:lnTo>
                    <a:pt x="2053" y="394"/>
                  </a:lnTo>
                  <a:lnTo>
                    <a:pt x="2061" y="443"/>
                  </a:lnTo>
                  <a:lnTo>
                    <a:pt x="2063" y="493"/>
                  </a:lnTo>
                  <a:lnTo>
                    <a:pt x="2063" y="865"/>
                  </a:lnTo>
                  <a:lnTo>
                    <a:pt x="1991" y="874"/>
                  </a:lnTo>
                  <a:lnTo>
                    <a:pt x="1958" y="880"/>
                  </a:lnTo>
                  <a:lnTo>
                    <a:pt x="1927" y="891"/>
                  </a:lnTo>
                  <a:lnTo>
                    <a:pt x="1899" y="906"/>
                  </a:lnTo>
                  <a:lnTo>
                    <a:pt x="1872" y="925"/>
                  </a:lnTo>
                  <a:lnTo>
                    <a:pt x="1849" y="947"/>
                  </a:lnTo>
                  <a:lnTo>
                    <a:pt x="1830" y="973"/>
                  </a:lnTo>
                  <a:lnTo>
                    <a:pt x="1813" y="1001"/>
                  </a:lnTo>
                  <a:lnTo>
                    <a:pt x="1801" y="1032"/>
                  </a:lnTo>
                  <a:lnTo>
                    <a:pt x="1792" y="1064"/>
                  </a:lnTo>
                  <a:lnTo>
                    <a:pt x="1789" y="1097"/>
                  </a:lnTo>
                  <a:lnTo>
                    <a:pt x="1790" y="1130"/>
                  </a:lnTo>
                  <a:lnTo>
                    <a:pt x="1797" y="1161"/>
                  </a:lnTo>
                  <a:lnTo>
                    <a:pt x="1806" y="1192"/>
                  </a:lnTo>
                  <a:lnTo>
                    <a:pt x="1820" y="1221"/>
                  </a:lnTo>
                  <a:lnTo>
                    <a:pt x="1840" y="1248"/>
                  </a:lnTo>
                  <a:lnTo>
                    <a:pt x="1863" y="1272"/>
                  </a:lnTo>
                  <a:lnTo>
                    <a:pt x="1981" y="1384"/>
                  </a:lnTo>
                  <a:lnTo>
                    <a:pt x="1956" y="1399"/>
                  </a:lnTo>
                  <a:lnTo>
                    <a:pt x="1928" y="1412"/>
                  </a:lnTo>
                  <a:lnTo>
                    <a:pt x="1898" y="1419"/>
                  </a:lnTo>
                  <a:lnTo>
                    <a:pt x="1867" y="1421"/>
                  </a:lnTo>
                  <a:lnTo>
                    <a:pt x="197" y="1421"/>
                  </a:lnTo>
                  <a:lnTo>
                    <a:pt x="162" y="1418"/>
                  </a:lnTo>
                  <a:lnTo>
                    <a:pt x="129" y="1409"/>
                  </a:lnTo>
                  <a:lnTo>
                    <a:pt x="97" y="1394"/>
                  </a:lnTo>
                  <a:lnTo>
                    <a:pt x="70" y="1375"/>
                  </a:lnTo>
                  <a:lnTo>
                    <a:pt x="47" y="1351"/>
                  </a:lnTo>
                  <a:lnTo>
                    <a:pt x="27" y="1323"/>
                  </a:lnTo>
                  <a:lnTo>
                    <a:pt x="12" y="1293"/>
                  </a:lnTo>
                  <a:lnTo>
                    <a:pt x="3" y="1259"/>
                  </a:lnTo>
                  <a:lnTo>
                    <a:pt x="0" y="1223"/>
                  </a:lnTo>
                  <a:lnTo>
                    <a:pt x="0" y="495"/>
                  </a:lnTo>
                  <a:lnTo>
                    <a:pt x="3" y="445"/>
                  </a:lnTo>
                  <a:lnTo>
                    <a:pt x="10" y="396"/>
                  </a:lnTo>
                  <a:lnTo>
                    <a:pt x="23" y="348"/>
                  </a:lnTo>
                  <a:lnTo>
                    <a:pt x="40" y="304"/>
                  </a:lnTo>
                  <a:lnTo>
                    <a:pt x="62" y="260"/>
                  </a:lnTo>
                  <a:lnTo>
                    <a:pt x="89" y="219"/>
                  </a:lnTo>
                  <a:lnTo>
                    <a:pt x="119" y="182"/>
                  </a:lnTo>
                  <a:lnTo>
                    <a:pt x="152" y="148"/>
                  </a:lnTo>
                  <a:lnTo>
                    <a:pt x="191" y="116"/>
                  </a:lnTo>
                  <a:lnTo>
                    <a:pt x="231" y="89"/>
                  </a:lnTo>
                  <a:lnTo>
                    <a:pt x="275" y="66"/>
                  </a:lnTo>
                  <a:lnTo>
                    <a:pt x="322" y="48"/>
                  </a:lnTo>
                  <a:lnTo>
                    <a:pt x="326" y="48"/>
                  </a:lnTo>
                  <a:lnTo>
                    <a:pt x="335" y="46"/>
                  </a:lnTo>
                  <a:lnTo>
                    <a:pt x="348" y="44"/>
                  </a:lnTo>
                  <a:lnTo>
                    <a:pt x="367" y="40"/>
                  </a:lnTo>
                  <a:lnTo>
                    <a:pt x="390" y="37"/>
                  </a:lnTo>
                  <a:lnTo>
                    <a:pt x="414" y="33"/>
                  </a:lnTo>
                  <a:lnTo>
                    <a:pt x="441" y="28"/>
                  </a:lnTo>
                  <a:lnTo>
                    <a:pt x="468" y="24"/>
                  </a:lnTo>
                  <a:lnTo>
                    <a:pt x="494" y="20"/>
                  </a:lnTo>
                  <a:lnTo>
                    <a:pt x="521" y="14"/>
                  </a:lnTo>
                  <a:lnTo>
                    <a:pt x="546" y="10"/>
                  </a:lnTo>
                  <a:lnTo>
                    <a:pt x="568" y="7"/>
                  </a:lnTo>
                  <a:lnTo>
                    <a:pt x="587" y="4"/>
                  </a:lnTo>
                  <a:lnTo>
                    <a:pt x="602" y="2"/>
                  </a:lnTo>
                  <a:lnTo>
                    <a:pt x="612" y="0"/>
                  </a:lnTo>
                  <a:lnTo>
                    <a:pt x="616" y="0"/>
                  </a:lnTo>
                  <a:lnTo>
                    <a:pt x="630" y="2"/>
                  </a:lnTo>
                  <a:lnTo>
                    <a:pt x="643" y="8"/>
                  </a:lnTo>
                  <a:lnTo>
                    <a:pt x="653" y="18"/>
                  </a:lnTo>
                  <a:lnTo>
                    <a:pt x="660" y="30"/>
                  </a:lnTo>
                  <a:lnTo>
                    <a:pt x="978" y="906"/>
                  </a:lnTo>
                  <a:lnTo>
                    <a:pt x="986" y="921"/>
                  </a:lnTo>
                  <a:lnTo>
                    <a:pt x="997" y="932"/>
                  </a:lnTo>
                  <a:lnTo>
                    <a:pt x="1010" y="939"/>
                  </a:lnTo>
                  <a:lnTo>
                    <a:pt x="1024" y="943"/>
                  </a:lnTo>
                  <a:lnTo>
                    <a:pt x="1039" y="943"/>
                  </a:lnTo>
                  <a:lnTo>
                    <a:pt x="1053" y="939"/>
                  </a:lnTo>
                  <a:lnTo>
                    <a:pt x="1067" y="932"/>
                  </a:lnTo>
                  <a:lnTo>
                    <a:pt x="1078" y="921"/>
                  </a:lnTo>
                  <a:lnTo>
                    <a:pt x="1085" y="906"/>
                  </a:lnTo>
                  <a:lnTo>
                    <a:pt x="1404" y="30"/>
                  </a:lnTo>
                  <a:lnTo>
                    <a:pt x="1411" y="18"/>
                  </a:lnTo>
                  <a:lnTo>
                    <a:pt x="1421" y="8"/>
                  </a:lnTo>
                  <a:lnTo>
                    <a:pt x="1434" y="2"/>
                  </a:lnTo>
                  <a:lnTo>
                    <a:pt x="14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9" name="Freeform 300">
              <a:extLst>
                <a:ext uri="{FF2B5EF4-FFF2-40B4-BE49-F238E27FC236}">
                  <a16:creationId xmlns:a16="http://schemas.microsoft.com/office/drawing/2014/main" id="{DE4F3825-CACF-83DC-C44B-E0A1006E9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2325" y="3317875"/>
              <a:ext cx="38100" cy="98425"/>
            </a:xfrm>
            <a:custGeom>
              <a:avLst/>
              <a:gdLst>
                <a:gd name="T0" fmla="*/ 64 w 262"/>
                <a:gd name="T1" fmla="*/ 0 h 676"/>
                <a:gd name="T2" fmla="*/ 198 w 262"/>
                <a:gd name="T3" fmla="*/ 0 h 676"/>
                <a:gd name="T4" fmla="*/ 215 w 262"/>
                <a:gd name="T5" fmla="*/ 2 h 676"/>
                <a:gd name="T6" fmla="*/ 232 w 262"/>
                <a:gd name="T7" fmla="*/ 9 h 676"/>
                <a:gd name="T8" fmla="*/ 246 w 262"/>
                <a:gd name="T9" fmla="*/ 20 h 676"/>
                <a:gd name="T10" fmla="*/ 255 w 262"/>
                <a:gd name="T11" fmla="*/ 34 h 676"/>
                <a:gd name="T12" fmla="*/ 260 w 262"/>
                <a:gd name="T13" fmla="*/ 48 h 676"/>
                <a:gd name="T14" fmla="*/ 262 w 262"/>
                <a:gd name="T15" fmla="*/ 64 h 676"/>
                <a:gd name="T16" fmla="*/ 260 w 262"/>
                <a:gd name="T17" fmla="*/ 79 h 676"/>
                <a:gd name="T18" fmla="*/ 254 w 262"/>
                <a:gd name="T19" fmla="*/ 94 h 676"/>
                <a:gd name="T20" fmla="*/ 182 w 262"/>
                <a:gd name="T21" fmla="*/ 202 h 676"/>
                <a:gd name="T22" fmla="*/ 215 w 262"/>
                <a:gd name="T23" fmla="*/ 486 h 676"/>
                <a:gd name="T24" fmla="*/ 150 w 262"/>
                <a:gd name="T25" fmla="*/ 662 h 676"/>
                <a:gd name="T26" fmla="*/ 145 w 262"/>
                <a:gd name="T27" fmla="*/ 669 h 676"/>
                <a:gd name="T28" fmla="*/ 139 w 262"/>
                <a:gd name="T29" fmla="*/ 674 h 676"/>
                <a:gd name="T30" fmla="*/ 130 w 262"/>
                <a:gd name="T31" fmla="*/ 676 h 676"/>
                <a:gd name="T32" fmla="*/ 123 w 262"/>
                <a:gd name="T33" fmla="*/ 674 h 676"/>
                <a:gd name="T34" fmla="*/ 116 w 262"/>
                <a:gd name="T35" fmla="*/ 669 h 676"/>
                <a:gd name="T36" fmla="*/ 112 w 262"/>
                <a:gd name="T37" fmla="*/ 662 h 676"/>
                <a:gd name="T38" fmla="*/ 45 w 262"/>
                <a:gd name="T39" fmla="*/ 486 h 676"/>
                <a:gd name="T40" fmla="*/ 80 w 262"/>
                <a:gd name="T41" fmla="*/ 202 h 676"/>
                <a:gd name="T42" fmla="*/ 8 w 262"/>
                <a:gd name="T43" fmla="*/ 94 h 676"/>
                <a:gd name="T44" fmla="*/ 2 w 262"/>
                <a:gd name="T45" fmla="*/ 79 h 676"/>
                <a:gd name="T46" fmla="*/ 0 w 262"/>
                <a:gd name="T47" fmla="*/ 64 h 676"/>
                <a:gd name="T48" fmla="*/ 1 w 262"/>
                <a:gd name="T49" fmla="*/ 48 h 676"/>
                <a:gd name="T50" fmla="*/ 6 w 262"/>
                <a:gd name="T51" fmla="*/ 34 h 676"/>
                <a:gd name="T52" fmla="*/ 16 w 262"/>
                <a:gd name="T53" fmla="*/ 20 h 676"/>
                <a:gd name="T54" fmla="*/ 30 w 262"/>
                <a:gd name="T55" fmla="*/ 9 h 676"/>
                <a:gd name="T56" fmla="*/ 47 w 262"/>
                <a:gd name="T57" fmla="*/ 2 h 676"/>
                <a:gd name="T58" fmla="*/ 64 w 262"/>
                <a:gd name="T59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2" h="676">
                  <a:moveTo>
                    <a:pt x="64" y="0"/>
                  </a:moveTo>
                  <a:lnTo>
                    <a:pt x="198" y="0"/>
                  </a:lnTo>
                  <a:lnTo>
                    <a:pt x="215" y="2"/>
                  </a:lnTo>
                  <a:lnTo>
                    <a:pt x="232" y="9"/>
                  </a:lnTo>
                  <a:lnTo>
                    <a:pt x="246" y="20"/>
                  </a:lnTo>
                  <a:lnTo>
                    <a:pt x="255" y="34"/>
                  </a:lnTo>
                  <a:lnTo>
                    <a:pt x="260" y="48"/>
                  </a:lnTo>
                  <a:lnTo>
                    <a:pt x="262" y="64"/>
                  </a:lnTo>
                  <a:lnTo>
                    <a:pt x="260" y="79"/>
                  </a:lnTo>
                  <a:lnTo>
                    <a:pt x="254" y="94"/>
                  </a:lnTo>
                  <a:lnTo>
                    <a:pt x="182" y="202"/>
                  </a:lnTo>
                  <a:lnTo>
                    <a:pt x="215" y="486"/>
                  </a:lnTo>
                  <a:lnTo>
                    <a:pt x="150" y="662"/>
                  </a:lnTo>
                  <a:lnTo>
                    <a:pt x="145" y="669"/>
                  </a:lnTo>
                  <a:lnTo>
                    <a:pt x="139" y="674"/>
                  </a:lnTo>
                  <a:lnTo>
                    <a:pt x="130" y="676"/>
                  </a:lnTo>
                  <a:lnTo>
                    <a:pt x="123" y="674"/>
                  </a:lnTo>
                  <a:lnTo>
                    <a:pt x="116" y="669"/>
                  </a:lnTo>
                  <a:lnTo>
                    <a:pt x="112" y="662"/>
                  </a:lnTo>
                  <a:lnTo>
                    <a:pt x="45" y="486"/>
                  </a:lnTo>
                  <a:lnTo>
                    <a:pt x="80" y="202"/>
                  </a:lnTo>
                  <a:lnTo>
                    <a:pt x="8" y="94"/>
                  </a:lnTo>
                  <a:lnTo>
                    <a:pt x="2" y="79"/>
                  </a:lnTo>
                  <a:lnTo>
                    <a:pt x="0" y="64"/>
                  </a:lnTo>
                  <a:lnTo>
                    <a:pt x="1" y="48"/>
                  </a:lnTo>
                  <a:lnTo>
                    <a:pt x="6" y="34"/>
                  </a:lnTo>
                  <a:lnTo>
                    <a:pt x="16" y="20"/>
                  </a:lnTo>
                  <a:lnTo>
                    <a:pt x="30" y="9"/>
                  </a:lnTo>
                  <a:lnTo>
                    <a:pt x="47" y="2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91" name="Group 71">
            <a:extLst>
              <a:ext uri="{FF2B5EF4-FFF2-40B4-BE49-F238E27FC236}">
                <a16:creationId xmlns:a16="http://schemas.microsoft.com/office/drawing/2014/main" id="{C420A2F2-0614-4092-831F-66BA1189EFCC}"/>
              </a:ext>
            </a:extLst>
          </p:cNvPr>
          <p:cNvGrpSpPr/>
          <p:nvPr/>
        </p:nvGrpSpPr>
        <p:grpSpPr>
          <a:xfrm flipH="1">
            <a:off x="5170641" y="2605481"/>
            <a:ext cx="343754" cy="348945"/>
            <a:chOff x="5638800" y="1503363"/>
            <a:chExt cx="454025" cy="477838"/>
          </a:xfrm>
          <a:solidFill>
            <a:schemeClr val="bg1"/>
          </a:solidFill>
        </p:grpSpPr>
        <p:sp>
          <p:nvSpPr>
            <p:cNvPr id="92" name="Freeform 89">
              <a:extLst>
                <a:ext uri="{FF2B5EF4-FFF2-40B4-BE49-F238E27FC236}">
                  <a16:creationId xmlns:a16="http://schemas.microsoft.com/office/drawing/2014/main" id="{CA4324F5-E39B-AD96-DCA3-75D97E78C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8800" y="1839913"/>
              <a:ext cx="107950" cy="141288"/>
            </a:xfrm>
            <a:custGeom>
              <a:avLst/>
              <a:gdLst>
                <a:gd name="T0" fmla="*/ 150 w 752"/>
                <a:gd name="T1" fmla="*/ 0 h 979"/>
                <a:gd name="T2" fmla="*/ 601 w 752"/>
                <a:gd name="T3" fmla="*/ 0 h 979"/>
                <a:gd name="T4" fmla="*/ 632 w 752"/>
                <a:gd name="T5" fmla="*/ 3 h 979"/>
                <a:gd name="T6" fmla="*/ 660 w 752"/>
                <a:gd name="T7" fmla="*/ 12 h 979"/>
                <a:gd name="T8" fmla="*/ 685 w 752"/>
                <a:gd name="T9" fmla="*/ 26 h 979"/>
                <a:gd name="T10" fmla="*/ 708 w 752"/>
                <a:gd name="T11" fmla="*/ 45 h 979"/>
                <a:gd name="T12" fmla="*/ 726 w 752"/>
                <a:gd name="T13" fmla="*/ 67 h 979"/>
                <a:gd name="T14" fmla="*/ 741 w 752"/>
                <a:gd name="T15" fmla="*/ 93 h 979"/>
                <a:gd name="T16" fmla="*/ 749 w 752"/>
                <a:gd name="T17" fmla="*/ 121 h 979"/>
                <a:gd name="T18" fmla="*/ 752 w 752"/>
                <a:gd name="T19" fmla="*/ 151 h 979"/>
                <a:gd name="T20" fmla="*/ 752 w 752"/>
                <a:gd name="T21" fmla="*/ 828 h 979"/>
                <a:gd name="T22" fmla="*/ 749 w 752"/>
                <a:gd name="T23" fmla="*/ 858 h 979"/>
                <a:gd name="T24" fmla="*/ 741 w 752"/>
                <a:gd name="T25" fmla="*/ 886 h 979"/>
                <a:gd name="T26" fmla="*/ 726 w 752"/>
                <a:gd name="T27" fmla="*/ 912 h 979"/>
                <a:gd name="T28" fmla="*/ 708 w 752"/>
                <a:gd name="T29" fmla="*/ 934 h 979"/>
                <a:gd name="T30" fmla="*/ 685 w 752"/>
                <a:gd name="T31" fmla="*/ 953 h 979"/>
                <a:gd name="T32" fmla="*/ 660 w 752"/>
                <a:gd name="T33" fmla="*/ 966 h 979"/>
                <a:gd name="T34" fmla="*/ 632 w 752"/>
                <a:gd name="T35" fmla="*/ 976 h 979"/>
                <a:gd name="T36" fmla="*/ 601 w 752"/>
                <a:gd name="T37" fmla="*/ 979 h 979"/>
                <a:gd name="T38" fmla="*/ 150 w 752"/>
                <a:gd name="T39" fmla="*/ 979 h 979"/>
                <a:gd name="T40" fmla="*/ 120 w 752"/>
                <a:gd name="T41" fmla="*/ 976 h 979"/>
                <a:gd name="T42" fmla="*/ 92 w 752"/>
                <a:gd name="T43" fmla="*/ 966 h 979"/>
                <a:gd name="T44" fmla="*/ 67 w 752"/>
                <a:gd name="T45" fmla="*/ 953 h 979"/>
                <a:gd name="T46" fmla="*/ 44 w 752"/>
                <a:gd name="T47" fmla="*/ 934 h 979"/>
                <a:gd name="T48" fmla="*/ 26 w 752"/>
                <a:gd name="T49" fmla="*/ 912 h 979"/>
                <a:gd name="T50" fmla="*/ 11 w 752"/>
                <a:gd name="T51" fmla="*/ 886 h 979"/>
                <a:gd name="T52" fmla="*/ 3 w 752"/>
                <a:gd name="T53" fmla="*/ 858 h 979"/>
                <a:gd name="T54" fmla="*/ 0 w 752"/>
                <a:gd name="T55" fmla="*/ 828 h 979"/>
                <a:gd name="T56" fmla="*/ 0 w 752"/>
                <a:gd name="T57" fmla="*/ 151 h 979"/>
                <a:gd name="T58" fmla="*/ 3 w 752"/>
                <a:gd name="T59" fmla="*/ 121 h 979"/>
                <a:gd name="T60" fmla="*/ 11 w 752"/>
                <a:gd name="T61" fmla="*/ 93 h 979"/>
                <a:gd name="T62" fmla="*/ 26 w 752"/>
                <a:gd name="T63" fmla="*/ 67 h 979"/>
                <a:gd name="T64" fmla="*/ 44 w 752"/>
                <a:gd name="T65" fmla="*/ 45 h 979"/>
                <a:gd name="T66" fmla="*/ 67 w 752"/>
                <a:gd name="T67" fmla="*/ 26 h 979"/>
                <a:gd name="T68" fmla="*/ 92 w 752"/>
                <a:gd name="T69" fmla="*/ 12 h 979"/>
                <a:gd name="T70" fmla="*/ 120 w 752"/>
                <a:gd name="T71" fmla="*/ 3 h 979"/>
                <a:gd name="T72" fmla="*/ 150 w 752"/>
                <a:gd name="T73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2" h="979">
                  <a:moveTo>
                    <a:pt x="150" y="0"/>
                  </a:moveTo>
                  <a:lnTo>
                    <a:pt x="601" y="0"/>
                  </a:lnTo>
                  <a:lnTo>
                    <a:pt x="632" y="3"/>
                  </a:lnTo>
                  <a:lnTo>
                    <a:pt x="660" y="12"/>
                  </a:lnTo>
                  <a:lnTo>
                    <a:pt x="685" y="26"/>
                  </a:lnTo>
                  <a:lnTo>
                    <a:pt x="708" y="45"/>
                  </a:lnTo>
                  <a:lnTo>
                    <a:pt x="726" y="67"/>
                  </a:lnTo>
                  <a:lnTo>
                    <a:pt x="741" y="93"/>
                  </a:lnTo>
                  <a:lnTo>
                    <a:pt x="749" y="121"/>
                  </a:lnTo>
                  <a:lnTo>
                    <a:pt x="752" y="151"/>
                  </a:lnTo>
                  <a:lnTo>
                    <a:pt x="752" y="828"/>
                  </a:lnTo>
                  <a:lnTo>
                    <a:pt x="749" y="858"/>
                  </a:lnTo>
                  <a:lnTo>
                    <a:pt x="741" y="886"/>
                  </a:lnTo>
                  <a:lnTo>
                    <a:pt x="726" y="912"/>
                  </a:lnTo>
                  <a:lnTo>
                    <a:pt x="708" y="934"/>
                  </a:lnTo>
                  <a:lnTo>
                    <a:pt x="685" y="953"/>
                  </a:lnTo>
                  <a:lnTo>
                    <a:pt x="660" y="966"/>
                  </a:lnTo>
                  <a:lnTo>
                    <a:pt x="632" y="976"/>
                  </a:lnTo>
                  <a:lnTo>
                    <a:pt x="601" y="979"/>
                  </a:lnTo>
                  <a:lnTo>
                    <a:pt x="150" y="979"/>
                  </a:lnTo>
                  <a:lnTo>
                    <a:pt x="120" y="976"/>
                  </a:lnTo>
                  <a:lnTo>
                    <a:pt x="92" y="966"/>
                  </a:lnTo>
                  <a:lnTo>
                    <a:pt x="67" y="953"/>
                  </a:lnTo>
                  <a:lnTo>
                    <a:pt x="44" y="934"/>
                  </a:lnTo>
                  <a:lnTo>
                    <a:pt x="26" y="912"/>
                  </a:lnTo>
                  <a:lnTo>
                    <a:pt x="11" y="886"/>
                  </a:lnTo>
                  <a:lnTo>
                    <a:pt x="3" y="858"/>
                  </a:lnTo>
                  <a:lnTo>
                    <a:pt x="0" y="828"/>
                  </a:lnTo>
                  <a:lnTo>
                    <a:pt x="0" y="151"/>
                  </a:lnTo>
                  <a:lnTo>
                    <a:pt x="3" y="121"/>
                  </a:lnTo>
                  <a:lnTo>
                    <a:pt x="11" y="93"/>
                  </a:lnTo>
                  <a:lnTo>
                    <a:pt x="26" y="67"/>
                  </a:lnTo>
                  <a:lnTo>
                    <a:pt x="44" y="45"/>
                  </a:lnTo>
                  <a:lnTo>
                    <a:pt x="67" y="26"/>
                  </a:lnTo>
                  <a:lnTo>
                    <a:pt x="92" y="12"/>
                  </a:lnTo>
                  <a:lnTo>
                    <a:pt x="120" y="3"/>
                  </a:lnTo>
                  <a:lnTo>
                    <a:pt x="1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3" name="Freeform 90">
              <a:extLst>
                <a:ext uri="{FF2B5EF4-FFF2-40B4-BE49-F238E27FC236}">
                  <a16:creationId xmlns:a16="http://schemas.microsoft.com/office/drawing/2014/main" id="{FC5383AA-6A9B-6524-AF1E-4E0209C14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7075" y="1763713"/>
              <a:ext cx="107950" cy="217488"/>
            </a:xfrm>
            <a:custGeom>
              <a:avLst/>
              <a:gdLst>
                <a:gd name="T0" fmla="*/ 151 w 752"/>
                <a:gd name="T1" fmla="*/ 0 h 1505"/>
                <a:gd name="T2" fmla="*/ 602 w 752"/>
                <a:gd name="T3" fmla="*/ 0 h 1505"/>
                <a:gd name="T4" fmla="*/ 632 w 752"/>
                <a:gd name="T5" fmla="*/ 3 h 1505"/>
                <a:gd name="T6" fmla="*/ 660 w 752"/>
                <a:gd name="T7" fmla="*/ 12 h 1505"/>
                <a:gd name="T8" fmla="*/ 686 w 752"/>
                <a:gd name="T9" fmla="*/ 26 h 1505"/>
                <a:gd name="T10" fmla="*/ 708 w 752"/>
                <a:gd name="T11" fmla="*/ 44 h 1505"/>
                <a:gd name="T12" fmla="*/ 727 w 752"/>
                <a:gd name="T13" fmla="*/ 66 h 1505"/>
                <a:gd name="T14" fmla="*/ 740 w 752"/>
                <a:gd name="T15" fmla="*/ 92 h 1505"/>
                <a:gd name="T16" fmla="*/ 749 w 752"/>
                <a:gd name="T17" fmla="*/ 120 h 1505"/>
                <a:gd name="T18" fmla="*/ 752 w 752"/>
                <a:gd name="T19" fmla="*/ 151 h 1505"/>
                <a:gd name="T20" fmla="*/ 752 w 752"/>
                <a:gd name="T21" fmla="*/ 1354 h 1505"/>
                <a:gd name="T22" fmla="*/ 749 w 752"/>
                <a:gd name="T23" fmla="*/ 1384 h 1505"/>
                <a:gd name="T24" fmla="*/ 740 w 752"/>
                <a:gd name="T25" fmla="*/ 1412 h 1505"/>
                <a:gd name="T26" fmla="*/ 727 w 752"/>
                <a:gd name="T27" fmla="*/ 1438 h 1505"/>
                <a:gd name="T28" fmla="*/ 708 w 752"/>
                <a:gd name="T29" fmla="*/ 1460 h 1505"/>
                <a:gd name="T30" fmla="*/ 686 w 752"/>
                <a:gd name="T31" fmla="*/ 1479 h 1505"/>
                <a:gd name="T32" fmla="*/ 660 w 752"/>
                <a:gd name="T33" fmla="*/ 1492 h 1505"/>
                <a:gd name="T34" fmla="*/ 632 w 752"/>
                <a:gd name="T35" fmla="*/ 1502 h 1505"/>
                <a:gd name="T36" fmla="*/ 602 w 752"/>
                <a:gd name="T37" fmla="*/ 1505 h 1505"/>
                <a:gd name="T38" fmla="*/ 151 w 752"/>
                <a:gd name="T39" fmla="*/ 1505 h 1505"/>
                <a:gd name="T40" fmla="*/ 121 w 752"/>
                <a:gd name="T41" fmla="*/ 1502 h 1505"/>
                <a:gd name="T42" fmla="*/ 92 w 752"/>
                <a:gd name="T43" fmla="*/ 1492 h 1505"/>
                <a:gd name="T44" fmla="*/ 66 w 752"/>
                <a:gd name="T45" fmla="*/ 1479 h 1505"/>
                <a:gd name="T46" fmla="*/ 45 w 752"/>
                <a:gd name="T47" fmla="*/ 1460 h 1505"/>
                <a:gd name="T48" fmla="*/ 26 w 752"/>
                <a:gd name="T49" fmla="*/ 1438 h 1505"/>
                <a:gd name="T50" fmla="*/ 12 w 752"/>
                <a:gd name="T51" fmla="*/ 1412 h 1505"/>
                <a:gd name="T52" fmla="*/ 3 w 752"/>
                <a:gd name="T53" fmla="*/ 1384 h 1505"/>
                <a:gd name="T54" fmla="*/ 0 w 752"/>
                <a:gd name="T55" fmla="*/ 1354 h 1505"/>
                <a:gd name="T56" fmla="*/ 0 w 752"/>
                <a:gd name="T57" fmla="*/ 151 h 1505"/>
                <a:gd name="T58" fmla="*/ 3 w 752"/>
                <a:gd name="T59" fmla="*/ 120 h 1505"/>
                <a:gd name="T60" fmla="*/ 12 w 752"/>
                <a:gd name="T61" fmla="*/ 92 h 1505"/>
                <a:gd name="T62" fmla="*/ 26 w 752"/>
                <a:gd name="T63" fmla="*/ 66 h 1505"/>
                <a:gd name="T64" fmla="*/ 45 w 752"/>
                <a:gd name="T65" fmla="*/ 44 h 1505"/>
                <a:gd name="T66" fmla="*/ 66 w 752"/>
                <a:gd name="T67" fmla="*/ 26 h 1505"/>
                <a:gd name="T68" fmla="*/ 92 w 752"/>
                <a:gd name="T69" fmla="*/ 12 h 1505"/>
                <a:gd name="T70" fmla="*/ 121 w 752"/>
                <a:gd name="T71" fmla="*/ 3 h 1505"/>
                <a:gd name="T72" fmla="*/ 151 w 752"/>
                <a:gd name="T73" fmla="*/ 0 h 1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2" h="1505">
                  <a:moveTo>
                    <a:pt x="151" y="0"/>
                  </a:moveTo>
                  <a:lnTo>
                    <a:pt x="602" y="0"/>
                  </a:lnTo>
                  <a:lnTo>
                    <a:pt x="632" y="3"/>
                  </a:lnTo>
                  <a:lnTo>
                    <a:pt x="660" y="12"/>
                  </a:lnTo>
                  <a:lnTo>
                    <a:pt x="686" y="26"/>
                  </a:lnTo>
                  <a:lnTo>
                    <a:pt x="708" y="44"/>
                  </a:lnTo>
                  <a:lnTo>
                    <a:pt x="727" y="66"/>
                  </a:lnTo>
                  <a:lnTo>
                    <a:pt x="740" y="92"/>
                  </a:lnTo>
                  <a:lnTo>
                    <a:pt x="749" y="120"/>
                  </a:lnTo>
                  <a:lnTo>
                    <a:pt x="752" y="151"/>
                  </a:lnTo>
                  <a:lnTo>
                    <a:pt x="752" y="1354"/>
                  </a:lnTo>
                  <a:lnTo>
                    <a:pt x="749" y="1384"/>
                  </a:lnTo>
                  <a:lnTo>
                    <a:pt x="740" y="1412"/>
                  </a:lnTo>
                  <a:lnTo>
                    <a:pt x="727" y="1438"/>
                  </a:lnTo>
                  <a:lnTo>
                    <a:pt x="708" y="1460"/>
                  </a:lnTo>
                  <a:lnTo>
                    <a:pt x="686" y="1479"/>
                  </a:lnTo>
                  <a:lnTo>
                    <a:pt x="660" y="1492"/>
                  </a:lnTo>
                  <a:lnTo>
                    <a:pt x="632" y="1502"/>
                  </a:lnTo>
                  <a:lnTo>
                    <a:pt x="602" y="1505"/>
                  </a:lnTo>
                  <a:lnTo>
                    <a:pt x="151" y="1505"/>
                  </a:lnTo>
                  <a:lnTo>
                    <a:pt x="121" y="1502"/>
                  </a:lnTo>
                  <a:lnTo>
                    <a:pt x="92" y="1492"/>
                  </a:lnTo>
                  <a:lnTo>
                    <a:pt x="66" y="1479"/>
                  </a:lnTo>
                  <a:lnTo>
                    <a:pt x="45" y="1460"/>
                  </a:lnTo>
                  <a:lnTo>
                    <a:pt x="26" y="1438"/>
                  </a:lnTo>
                  <a:lnTo>
                    <a:pt x="12" y="1412"/>
                  </a:lnTo>
                  <a:lnTo>
                    <a:pt x="3" y="1384"/>
                  </a:lnTo>
                  <a:lnTo>
                    <a:pt x="0" y="1354"/>
                  </a:lnTo>
                  <a:lnTo>
                    <a:pt x="0" y="151"/>
                  </a:lnTo>
                  <a:lnTo>
                    <a:pt x="3" y="120"/>
                  </a:lnTo>
                  <a:lnTo>
                    <a:pt x="12" y="92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6" y="26"/>
                  </a:lnTo>
                  <a:lnTo>
                    <a:pt x="92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4" name="Freeform 91">
              <a:extLst>
                <a:ext uri="{FF2B5EF4-FFF2-40B4-BE49-F238E27FC236}">
                  <a16:creationId xmlns:a16="http://schemas.microsoft.com/office/drawing/2014/main" id="{F1EDCB75-4A7B-72EE-2792-7C5D495982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5350" y="1677988"/>
              <a:ext cx="107950" cy="303213"/>
            </a:xfrm>
            <a:custGeom>
              <a:avLst/>
              <a:gdLst>
                <a:gd name="T0" fmla="*/ 150 w 752"/>
                <a:gd name="T1" fmla="*/ 0 h 2106"/>
                <a:gd name="T2" fmla="*/ 601 w 752"/>
                <a:gd name="T3" fmla="*/ 0 h 2106"/>
                <a:gd name="T4" fmla="*/ 631 w 752"/>
                <a:gd name="T5" fmla="*/ 3 h 2106"/>
                <a:gd name="T6" fmla="*/ 659 w 752"/>
                <a:gd name="T7" fmla="*/ 11 h 2106"/>
                <a:gd name="T8" fmla="*/ 685 w 752"/>
                <a:gd name="T9" fmla="*/ 25 h 2106"/>
                <a:gd name="T10" fmla="*/ 707 w 752"/>
                <a:gd name="T11" fmla="*/ 43 h 2106"/>
                <a:gd name="T12" fmla="*/ 726 w 752"/>
                <a:gd name="T13" fmla="*/ 66 h 2106"/>
                <a:gd name="T14" fmla="*/ 739 w 752"/>
                <a:gd name="T15" fmla="*/ 91 h 2106"/>
                <a:gd name="T16" fmla="*/ 749 w 752"/>
                <a:gd name="T17" fmla="*/ 119 h 2106"/>
                <a:gd name="T18" fmla="*/ 752 w 752"/>
                <a:gd name="T19" fmla="*/ 149 h 2106"/>
                <a:gd name="T20" fmla="*/ 752 w 752"/>
                <a:gd name="T21" fmla="*/ 1955 h 2106"/>
                <a:gd name="T22" fmla="*/ 749 w 752"/>
                <a:gd name="T23" fmla="*/ 1985 h 2106"/>
                <a:gd name="T24" fmla="*/ 739 w 752"/>
                <a:gd name="T25" fmla="*/ 2013 h 2106"/>
                <a:gd name="T26" fmla="*/ 726 w 752"/>
                <a:gd name="T27" fmla="*/ 2039 h 2106"/>
                <a:gd name="T28" fmla="*/ 707 w 752"/>
                <a:gd name="T29" fmla="*/ 2061 h 2106"/>
                <a:gd name="T30" fmla="*/ 685 w 752"/>
                <a:gd name="T31" fmla="*/ 2080 h 2106"/>
                <a:gd name="T32" fmla="*/ 659 w 752"/>
                <a:gd name="T33" fmla="*/ 2093 h 2106"/>
                <a:gd name="T34" fmla="*/ 631 w 752"/>
                <a:gd name="T35" fmla="*/ 2103 h 2106"/>
                <a:gd name="T36" fmla="*/ 601 w 752"/>
                <a:gd name="T37" fmla="*/ 2106 h 2106"/>
                <a:gd name="T38" fmla="*/ 150 w 752"/>
                <a:gd name="T39" fmla="*/ 2106 h 2106"/>
                <a:gd name="T40" fmla="*/ 119 w 752"/>
                <a:gd name="T41" fmla="*/ 2103 h 2106"/>
                <a:gd name="T42" fmla="*/ 91 w 752"/>
                <a:gd name="T43" fmla="*/ 2093 h 2106"/>
                <a:gd name="T44" fmla="*/ 65 w 752"/>
                <a:gd name="T45" fmla="*/ 2080 h 2106"/>
                <a:gd name="T46" fmla="*/ 44 w 752"/>
                <a:gd name="T47" fmla="*/ 2061 h 2106"/>
                <a:gd name="T48" fmla="*/ 25 w 752"/>
                <a:gd name="T49" fmla="*/ 2039 h 2106"/>
                <a:gd name="T50" fmla="*/ 11 w 752"/>
                <a:gd name="T51" fmla="*/ 2013 h 2106"/>
                <a:gd name="T52" fmla="*/ 3 w 752"/>
                <a:gd name="T53" fmla="*/ 1985 h 2106"/>
                <a:gd name="T54" fmla="*/ 0 w 752"/>
                <a:gd name="T55" fmla="*/ 1955 h 2106"/>
                <a:gd name="T56" fmla="*/ 0 w 752"/>
                <a:gd name="T57" fmla="*/ 149 h 2106"/>
                <a:gd name="T58" fmla="*/ 3 w 752"/>
                <a:gd name="T59" fmla="*/ 119 h 2106"/>
                <a:gd name="T60" fmla="*/ 11 w 752"/>
                <a:gd name="T61" fmla="*/ 91 h 2106"/>
                <a:gd name="T62" fmla="*/ 25 w 752"/>
                <a:gd name="T63" fmla="*/ 66 h 2106"/>
                <a:gd name="T64" fmla="*/ 44 w 752"/>
                <a:gd name="T65" fmla="*/ 43 h 2106"/>
                <a:gd name="T66" fmla="*/ 65 w 752"/>
                <a:gd name="T67" fmla="*/ 25 h 2106"/>
                <a:gd name="T68" fmla="*/ 91 w 752"/>
                <a:gd name="T69" fmla="*/ 11 h 2106"/>
                <a:gd name="T70" fmla="*/ 119 w 752"/>
                <a:gd name="T71" fmla="*/ 3 h 2106"/>
                <a:gd name="T72" fmla="*/ 150 w 752"/>
                <a:gd name="T73" fmla="*/ 0 h 2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2" h="2106">
                  <a:moveTo>
                    <a:pt x="150" y="0"/>
                  </a:moveTo>
                  <a:lnTo>
                    <a:pt x="601" y="0"/>
                  </a:lnTo>
                  <a:lnTo>
                    <a:pt x="631" y="3"/>
                  </a:lnTo>
                  <a:lnTo>
                    <a:pt x="659" y="11"/>
                  </a:lnTo>
                  <a:lnTo>
                    <a:pt x="685" y="25"/>
                  </a:lnTo>
                  <a:lnTo>
                    <a:pt x="707" y="43"/>
                  </a:lnTo>
                  <a:lnTo>
                    <a:pt x="726" y="66"/>
                  </a:lnTo>
                  <a:lnTo>
                    <a:pt x="739" y="91"/>
                  </a:lnTo>
                  <a:lnTo>
                    <a:pt x="749" y="119"/>
                  </a:lnTo>
                  <a:lnTo>
                    <a:pt x="752" y="149"/>
                  </a:lnTo>
                  <a:lnTo>
                    <a:pt x="752" y="1955"/>
                  </a:lnTo>
                  <a:lnTo>
                    <a:pt x="749" y="1985"/>
                  </a:lnTo>
                  <a:lnTo>
                    <a:pt x="739" y="2013"/>
                  </a:lnTo>
                  <a:lnTo>
                    <a:pt x="726" y="2039"/>
                  </a:lnTo>
                  <a:lnTo>
                    <a:pt x="707" y="2061"/>
                  </a:lnTo>
                  <a:lnTo>
                    <a:pt x="685" y="2080"/>
                  </a:lnTo>
                  <a:lnTo>
                    <a:pt x="659" y="2093"/>
                  </a:lnTo>
                  <a:lnTo>
                    <a:pt x="631" y="2103"/>
                  </a:lnTo>
                  <a:lnTo>
                    <a:pt x="601" y="2106"/>
                  </a:lnTo>
                  <a:lnTo>
                    <a:pt x="150" y="2106"/>
                  </a:lnTo>
                  <a:lnTo>
                    <a:pt x="119" y="2103"/>
                  </a:lnTo>
                  <a:lnTo>
                    <a:pt x="91" y="2093"/>
                  </a:lnTo>
                  <a:lnTo>
                    <a:pt x="65" y="2080"/>
                  </a:lnTo>
                  <a:lnTo>
                    <a:pt x="44" y="2061"/>
                  </a:lnTo>
                  <a:lnTo>
                    <a:pt x="25" y="2039"/>
                  </a:lnTo>
                  <a:lnTo>
                    <a:pt x="11" y="2013"/>
                  </a:lnTo>
                  <a:lnTo>
                    <a:pt x="3" y="1985"/>
                  </a:lnTo>
                  <a:lnTo>
                    <a:pt x="0" y="1955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1" y="91"/>
                  </a:lnTo>
                  <a:lnTo>
                    <a:pt x="25" y="66"/>
                  </a:lnTo>
                  <a:lnTo>
                    <a:pt x="44" y="43"/>
                  </a:lnTo>
                  <a:lnTo>
                    <a:pt x="65" y="25"/>
                  </a:lnTo>
                  <a:lnTo>
                    <a:pt x="91" y="11"/>
                  </a:lnTo>
                  <a:lnTo>
                    <a:pt x="119" y="3"/>
                  </a:lnTo>
                  <a:lnTo>
                    <a:pt x="1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5" name="Freeform 92">
              <a:extLst>
                <a:ext uri="{FF2B5EF4-FFF2-40B4-BE49-F238E27FC236}">
                  <a16:creationId xmlns:a16="http://schemas.microsoft.com/office/drawing/2014/main" id="{BCBC0B88-16DC-066F-E7E5-A1932CC29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450" y="1503363"/>
              <a:ext cx="31750" cy="31750"/>
            </a:xfrm>
            <a:custGeom>
              <a:avLst/>
              <a:gdLst>
                <a:gd name="T0" fmla="*/ 107 w 214"/>
                <a:gd name="T1" fmla="*/ 0 h 215"/>
                <a:gd name="T2" fmla="*/ 107 w 214"/>
                <a:gd name="T3" fmla="*/ 0 h 215"/>
                <a:gd name="T4" fmla="*/ 132 w 214"/>
                <a:gd name="T5" fmla="*/ 3 h 215"/>
                <a:gd name="T6" fmla="*/ 154 w 214"/>
                <a:gd name="T7" fmla="*/ 11 h 215"/>
                <a:gd name="T8" fmla="*/ 175 w 214"/>
                <a:gd name="T9" fmla="*/ 23 h 215"/>
                <a:gd name="T10" fmla="*/ 192 w 214"/>
                <a:gd name="T11" fmla="*/ 40 h 215"/>
                <a:gd name="T12" fmla="*/ 204 w 214"/>
                <a:gd name="T13" fmla="*/ 61 h 215"/>
                <a:gd name="T14" fmla="*/ 212 w 214"/>
                <a:gd name="T15" fmla="*/ 83 h 215"/>
                <a:gd name="T16" fmla="*/ 214 w 214"/>
                <a:gd name="T17" fmla="*/ 107 h 215"/>
                <a:gd name="T18" fmla="*/ 212 w 214"/>
                <a:gd name="T19" fmla="*/ 132 h 215"/>
                <a:gd name="T20" fmla="*/ 204 w 214"/>
                <a:gd name="T21" fmla="*/ 154 h 215"/>
                <a:gd name="T22" fmla="*/ 192 w 214"/>
                <a:gd name="T23" fmla="*/ 174 h 215"/>
                <a:gd name="T24" fmla="*/ 175 w 214"/>
                <a:gd name="T25" fmla="*/ 191 h 215"/>
                <a:gd name="T26" fmla="*/ 154 w 214"/>
                <a:gd name="T27" fmla="*/ 203 h 215"/>
                <a:gd name="T28" fmla="*/ 132 w 214"/>
                <a:gd name="T29" fmla="*/ 211 h 215"/>
                <a:gd name="T30" fmla="*/ 107 w 214"/>
                <a:gd name="T31" fmla="*/ 215 h 215"/>
                <a:gd name="T32" fmla="*/ 83 w 214"/>
                <a:gd name="T33" fmla="*/ 211 h 215"/>
                <a:gd name="T34" fmla="*/ 60 w 214"/>
                <a:gd name="T35" fmla="*/ 203 h 215"/>
                <a:gd name="T36" fmla="*/ 41 w 214"/>
                <a:gd name="T37" fmla="*/ 191 h 215"/>
                <a:gd name="T38" fmla="*/ 24 w 214"/>
                <a:gd name="T39" fmla="*/ 174 h 215"/>
                <a:gd name="T40" fmla="*/ 12 w 214"/>
                <a:gd name="T41" fmla="*/ 154 h 215"/>
                <a:gd name="T42" fmla="*/ 3 w 214"/>
                <a:gd name="T43" fmla="*/ 132 h 215"/>
                <a:gd name="T44" fmla="*/ 0 w 214"/>
                <a:gd name="T45" fmla="*/ 107 h 215"/>
                <a:gd name="T46" fmla="*/ 3 w 214"/>
                <a:gd name="T47" fmla="*/ 83 h 215"/>
                <a:gd name="T48" fmla="*/ 12 w 214"/>
                <a:gd name="T49" fmla="*/ 61 h 215"/>
                <a:gd name="T50" fmla="*/ 24 w 214"/>
                <a:gd name="T51" fmla="*/ 40 h 215"/>
                <a:gd name="T52" fmla="*/ 41 w 214"/>
                <a:gd name="T53" fmla="*/ 23 h 215"/>
                <a:gd name="T54" fmla="*/ 60 w 214"/>
                <a:gd name="T55" fmla="*/ 11 h 215"/>
                <a:gd name="T56" fmla="*/ 83 w 214"/>
                <a:gd name="T57" fmla="*/ 3 h 215"/>
                <a:gd name="T58" fmla="*/ 107 w 214"/>
                <a:gd name="T59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4" h="215">
                  <a:moveTo>
                    <a:pt x="107" y="0"/>
                  </a:moveTo>
                  <a:lnTo>
                    <a:pt x="107" y="0"/>
                  </a:lnTo>
                  <a:lnTo>
                    <a:pt x="132" y="3"/>
                  </a:lnTo>
                  <a:lnTo>
                    <a:pt x="154" y="11"/>
                  </a:lnTo>
                  <a:lnTo>
                    <a:pt x="175" y="23"/>
                  </a:lnTo>
                  <a:lnTo>
                    <a:pt x="192" y="40"/>
                  </a:lnTo>
                  <a:lnTo>
                    <a:pt x="204" y="61"/>
                  </a:lnTo>
                  <a:lnTo>
                    <a:pt x="212" y="83"/>
                  </a:lnTo>
                  <a:lnTo>
                    <a:pt x="214" y="107"/>
                  </a:lnTo>
                  <a:lnTo>
                    <a:pt x="212" y="132"/>
                  </a:lnTo>
                  <a:lnTo>
                    <a:pt x="204" y="154"/>
                  </a:lnTo>
                  <a:lnTo>
                    <a:pt x="192" y="174"/>
                  </a:lnTo>
                  <a:lnTo>
                    <a:pt x="175" y="191"/>
                  </a:lnTo>
                  <a:lnTo>
                    <a:pt x="154" y="203"/>
                  </a:lnTo>
                  <a:lnTo>
                    <a:pt x="132" y="211"/>
                  </a:lnTo>
                  <a:lnTo>
                    <a:pt x="107" y="215"/>
                  </a:lnTo>
                  <a:lnTo>
                    <a:pt x="83" y="211"/>
                  </a:lnTo>
                  <a:lnTo>
                    <a:pt x="60" y="203"/>
                  </a:lnTo>
                  <a:lnTo>
                    <a:pt x="41" y="191"/>
                  </a:lnTo>
                  <a:lnTo>
                    <a:pt x="24" y="174"/>
                  </a:lnTo>
                  <a:lnTo>
                    <a:pt x="12" y="154"/>
                  </a:lnTo>
                  <a:lnTo>
                    <a:pt x="3" y="132"/>
                  </a:lnTo>
                  <a:lnTo>
                    <a:pt x="0" y="107"/>
                  </a:lnTo>
                  <a:lnTo>
                    <a:pt x="3" y="83"/>
                  </a:lnTo>
                  <a:lnTo>
                    <a:pt x="12" y="61"/>
                  </a:lnTo>
                  <a:lnTo>
                    <a:pt x="24" y="40"/>
                  </a:lnTo>
                  <a:lnTo>
                    <a:pt x="41" y="23"/>
                  </a:lnTo>
                  <a:lnTo>
                    <a:pt x="60" y="11"/>
                  </a:lnTo>
                  <a:lnTo>
                    <a:pt x="83" y="3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6" name="Freeform 93">
              <a:extLst>
                <a:ext uri="{FF2B5EF4-FFF2-40B4-BE49-F238E27FC236}">
                  <a16:creationId xmlns:a16="http://schemas.microsoft.com/office/drawing/2014/main" id="{703F3801-790A-C9E6-B6CA-F208F077C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5825" y="1511300"/>
              <a:ext cx="127000" cy="152400"/>
            </a:xfrm>
            <a:custGeom>
              <a:avLst/>
              <a:gdLst>
                <a:gd name="T0" fmla="*/ 823 w 875"/>
                <a:gd name="T1" fmla="*/ 0 h 1055"/>
                <a:gd name="T2" fmla="*/ 851 w 875"/>
                <a:gd name="T3" fmla="*/ 12 h 1055"/>
                <a:gd name="T4" fmla="*/ 871 w 875"/>
                <a:gd name="T5" fmla="*/ 38 h 1055"/>
                <a:gd name="T6" fmla="*/ 874 w 875"/>
                <a:gd name="T7" fmla="*/ 68 h 1055"/>
                <a:gd name="T8" fmla="*/ 863 w 875"/>
                <a:gd name="T9" fmla="*/ 97 h 1055"/>
                <a:gd name="T10" fmla="*/ 589 w 875"/>
                <a:gd name="T11" fmla="*/ 304 h 1055"/>
                <a:gd name="T12" fmla="*/ 555 w 875"/>
                <a:gd name="T13" fmla="*/ 316 h 1055"/>
                <a:gd name="T14" fmla="*/ 666 w 875"/>
                <a:gd name="T15" fmla="*/ 978 h 1055"/>
                <a:gd name="T16" fmla="*/ 666 w 875"/>
                <a:gd name="T17" fmla="*/ 1009 h 1055"/>
                <a:gd name="T18" fmla="*/ 652 w 875"/>
                <a:gd name="T19" fmla="*/ 1036 h 1055"/>
                <a:gd name="T20" fmla="*/ 625 w 875"/>
                <a:gd name="T21" fmla="*/ 1053 h 1055"/>
                <a:gd name="T22" fmla="*/ 608 w 875"/>
                <a:gd name="T23" fmla="*/ 1055 h 1055"/>
                <a:gd name="T24" fmla="*/ 579 w 875"/>
                <a:gd name="T25" fmla="*/ 1046 h 1055"/>
                <a:gd name="T26" fmla="*/ 556 w 875"/>
                <a:gd name="T27" fmla="*/ 1026 h 1055"/>
                <a:gd name="T28" fmla="*/ 437 w 875"/>
                <a:gd name="T29" fmla="*/ 617 h 1055"/>
                <a:gd name="T30" fmla="*/ 319 w 875"/>
                <a:gd name="T31" fmla="*/ 1026 h 1055"/>
                <a:gd name="T32" fmla="*/ 297 w 875"/>
                <a:gd name="T33" fmla="*/ 1046 h 1055"/>
                <a:gd name="T34" fmla="*/ 267 w 875"/>
                <a:gd name="T35" fmla="*/ 1055 h 1055"/>
                <a:gd name="T36" fmla="*/ 250 w 875"/>
                <a:gd name="T37" fmla="*/ 1053 h 1055"/>
                <a:gd name="T38" fmla="*/ 223 w 875"/>
                <a:gd name="T39" fmla="*/ 1036 h 1055"/>
                <a:gd name="T40" fmla="*/ 208 w 875"/>
                <a:gd name="T41" fmla="*/ 1009 h 1055"/>
                <a:gd name="T42" fmla="*/ 208 w 875"/>
                <a:gd name="T43" fmla="*/ 978 h 1055"/>
                <a:gd name="T44" fmla="*/ 320 w 875"/>
                <a:gd name="T45" fmla="*/ 315 h 1055"/>
                <a:gd name="T46" fmla="*/ 285 w 875"/>
                <a:gd name="T47" fmla="*/ 304 h 1055"/>
                <a:gd name="T48" fmla="*/ 13 w 875"/>
                <a:gd name="T49" fmla="*/ 97 h 1055"/>
                <a:gd name="T50" fmla="*/ 0 w 875"/>
                <a:gd name="T51" fmla="*/ 68 h 1055"/>
                <a:gd name="T52" fmla="*/ 4 w 875"/>
                <a:gd name="T53" fmla="*/ 38 h 1055"/>
                <a:gd name="T54" fmla="*/ 23 w 875"/>
                <a:gd name="T55" fmla="*/ 12 h 1055"/>
                <a:gd name="T56" fmla="*/ 51 w 875"/>
                <a:gd name="T57" fmla="*/ 0 h 1055"/>
                <a:gd name="T58" fmla="*/ 83 w 875"/>
                <a:gd name="T59" fmla="*/ 3 h 1055"/>
                <a:gd name="T60" fmla="*/ 342 w 875"/>
                <a:gd name="T61" fmla="*/ 195 h 1055"/>
                <a:gd name="T62" fmla="*/ 397 w 875"/>
                <a:gd name="T63" fmla="*/ 198 h 1055"/>
                <a:gd name="T64" fmla="*/ 423 w 875"/>
                <a:gd name="T65" fmla="*/ 213 h 1055"/>
                <a:gd name="T66" fmla="*/ 437 w 875"/>
                <a:gd name="T67" fmla="*/ 456 h 1055"/>
                <a:gd name="T68" fmla="*/ 453 w 875"/>
                <a:gd name="T69" fmla="*/ 213 h 1055"/>
                <a:gd name="T70" fmla="*/ 479 w 875"/>
                <a:gd name="T71" fmla="*/ 198 h 1055"/>
                <a:gd name="T72" fmla="*/ 533 w 875"/>
                <a:gd name="T73" fmla="*/ 195 h 1055"/>
                <a:gd name="T74" fmla="*/ 793 w 875"/>
                <a:gd name="T75" fmla="*/ 3 h 1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5" h="1055">
                  <a:moveTo>
                    <a:pt x="808" y="0"/>
                  </a:moveTo>
                  <a:lnTo>
                    <a:pt x="823" y="0"/>
                  </a:lnTo>
                  <a:lnTo>
                    <a:pt x="838" y="4"/>
                  </a:lnTo>
                  <a:lnTo>
                    <a:pt x="851" y="12"/>
                  </a:lnTo>
                  <a:lnTo>
                    <a:pt x="863" y="24"/>
                  </a:lnTo>
                  <a:lnTo>
                    <a:pt x="871" y="38"/>
                  </a:lnTo>
                  <a:lnTo>
                    <a:pt x="875" y="53"/>
                  </a:lnTo>
                  <a:lnTo>
                    <a:pt x="874" y="68"/>
                  </a:lnTo>
                  <a:lnTo>
                    <a:pt x="870" y="83"/>
                  </a:lnTo>
                  <a:lnTo>
                    <a:pt x="863" y="97"/>
                  </a:lnTo>
                  <a:lnTo>
                    <a:pt x="850" y="108"/>
                  </a:lnTo>
                  <a:lnTo>
                    <a:pt x="589" y="304"/>
                  </a:lnTo>
                  <a:lnTo>
                    <a:pt x="573" y="312"/>
                  </a:lnTo>
                  <a:lnTo>
                    <a:pt x="555" y="316"/>
                  </a:lnTo>
                  <a:lnTo>
                    <a:pt x="555" y="588"/>
                  </a:lnTo>
                  <a:lnTo>
                    <a:pt x="666" y="978"/>
                  </a:lnTo>
                  <a:lnTo>
                    <a:pt x="668" y="993"/>
                  </a:lnTo>
                  <a:lnTo>
                    <a:pt x="666" y="1009"/>
                  </a:lnTo>
                  <a:lnTo>
                    <a:pt x="661" y="1024"/>
                  </a:lnTo>
                  <a:lnTo>
                    <a:pt x="652" y="1036"/>
                  </a:lnTo>
                  <a:lnTo>
                    <a:pt x="639" y="1045"/>
                  </a:lnTo>
                  <a:lnTo>
                    <a:pt x="625" y="1053"/>
                  </a:lnTo>
                  <a:lnTo>
                    <a:pt x="616" y="1054"/>
                  </a:lnTo>
                  <a:lnTo>
                    <a:pt x="608" y="1055"/>
                  </a:lnTo>
                  <a:lnTo>
                    <a:pt x="592" y="1053"/>
                  </a:lnTo>
                  <a:lnTo>
                    <a:pt x="579" y="1046"/>
                  </a:lnTo>
                  <a:lnTo>
                    <a:pt x="566" y="1038"/>
                  </a:lnTo>
                  <a:lnTo>
                    <a:pt x="556" y="1026"/>
                  </a:lnTo>
                  <a:lnTo>
                    <a:pt x="550" y="1011"/>
                  </a:lnTo>
                  <a:lnTo>
                    <a:pt x="437" y="617"/>
                  </a:lnTo>
                  <a:lnTo>
                    <a:pt x="325" y="1011"/>
                  </a:lnTo>
                  <a:lnTo>
                    <a:pt x="319" y="1026"/>
                  </a:lnTo>
                  <a:lnTo>
                    <a:pt x="309" y="1038"/>
                  </a:lnTo>
                  <a:lnTo>
                    <a:pt x="297" y="1046"/>
                  </a:lnTo>
                  <a:lnTo>
                    <a:pt x="282" y="1053"/>
                  </a:lnTo>
                  <a:lnTo>
                    <a:pt x="267" y="1055"/>
                  </a:lnTo>
                  <a:lnTo>
                    <a:pt x="258" y="1054"/>
                  </a:lnTo>
                  <a:lnTo>
                    <a:pt x="250" y="1053"/>
                  </a:lnTo>
                  <a:lnTo>
                    <a:pt x="236" y="1045"/>
                  </a:lnTo>
                  <a:lnTo>
                    <a:pt x="223" y="1036"/>
                  </a:lnTo>
                  <a:lnTo>
                    <a:pt x="215" y="1024"/>
                  </a:lnTo>
                  <a:lnTo>
                    <a:pt x="208" y="1009"/>
                  </a:lnTo>
                  <a:lnTo>
                    <a:pt x="206" y="993"/>
                  </a:lnTo>
                  <a:lnTo>
                    <a:pt x="208" y="978"/>
                  </a:lnTo>
                  <a:lnTo>
                    <a:pt x="320" y="588"/>
                  </a:lnTo>
                  <a:lnTo>
                    <a:pt x="320" y="315"/>
                  </a:lnTo>
                  <a:lnTo>
                    <a:pt x="302" y="312"/>
                  </a:lnTo>
                  <a:lnTo>
                    <a:pt x="285" y="304"/>
                  </a:lnTo>
                  <a:lnTo>
                    <a:pt x="24" y="108"/>
                  </a:lnTo>
                  <a:lnTo>
                    <a:pt x="13" y="97"/>
                  </a:lnTo>
                  <a:lnTo>
                    <a:pt x="5" y="83"/>
                  </a:lnTo>
                  <a:lnTo>
                    <a:pt x="0" y="68"/>
                  </a:lnTo>
                  <a:lnTo>
                    <a:pt x="0" y="53"/>
                  </a:lnTo>
                  <a:lnTo>
                    <a:pt x="4" y="38"/>
                  </a:lnTo>
                  <a:lnTo>
                    <a:pt x="12" y="24"/>
                  </a:lnTo>
                  <a:lnTo>
                    <a:pt x="23" y="12"/>
                  </a:lnTo>
                  <a:lnTo>
                    <a:pt x="37" y="4"/>
                  </a:lnTo>
                  <a:lnTo>
                    <a:pt x="51" y="0"/>
                  </a:lnTo>
                  <a:lnTo>
                    <a:pt x="67" y="0"/>
                  </a:lnTo>
                  <a:lnTo>
                    <a:pt x="83" y="3"/>
                  </a:lnTo>
                  <a:lnTo>
                    <a:pt x="96" y="12"/>
                  </a:lnTo>
                  <a:lnTo>
                    <a:pt x="342" y="195"/>
                  </a:lnTo>
                  <a:lnTo>
                    <a:pt x="381" y="195"/>
                  </a:lnTo>
                  <a:lnTo>
                    <a:pt x="397" y="198"/>
                  </a:lnTo>
                  <a:lnTo>
                    <a:pt x="410" y="204"/>
                  </a:lnTo>
                  <a:lnTo>
                    <a:pt x="423" y="213"/>
                  </a:lnTo>
                  <a:lnTo>
                    <a:pt x="395" y="419"/>
                  </a:lnTo>
                  <a:lnTo>
                    <a:pt x="437" y="456"/>
                  </a:lnTo>
                  <a:lnTo>
                    <a:pt x="481" y="419"/>
                  </a:lnTo>
                  <a:lnTo>
                    <a:pt x="453" y="213"/>
                  </a:lnTo>
                  <a:lnTo>
                    <a:pt x="464" y="204"/>
                  </a:lnTo>
                  <a:lnTo>
                    <a:pt x="479" y="198"/>
                  </a:lnTo>
                  <a:lnTo>
                    <a:pt x="494" y="195"/>
                  </a:lnTo>
                  <a:lnTo>
                    <a:pt x="533" y="195"/>
                  </a:lnTo>
                  <a:lnTo>
                    <a:pt x="778" y="12"/>
                  </a:lnTo>
                  <a:lnTo>
                    <a:pt x="793" y="3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108" name="Freeform 91">
            <a:extLst>
              <a:ext uri="{FF2B5EF4-FFF2-40B4-BE49-F238E27FC236}">
                <a16:creationId xmlns:a16="http://schemas.microsoft.com/office/drawing/2014/main" id="{EB742501-9A8D-4CF7-9C72-0820B3A05502}"/>
              </a:ext>
            </a:extLst>
          </p:cNvPr>
          <p:cNvSpPr>
            <a:spLocks noEditPoints="1"/>
          </p:cNvSpPr>
          <p:nvPr/>
        </p:nvSpPr>
        <p:spPr bwMode="auto">
          <a:xfrm>
            <a:off x="4732425" y="3347023"/>
            <a:ext cx="385278" cy="399477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41" y="22"/>
              </a:cxn>
              <a:cxn ang="0">
                <a:pos x="45" y="20"/>
              </a:cxn>
              <a:cxn ang="0">
                <a:pos x="49" y="19"/>
              </a:cxn>
              <a:cxn ang="0">
                <a:pos x="48" y="17"/>
              </a:cxn>
              <a:cxn ang="0">
                <a:pos x="45" y="15"/>
              </a:cxn>
              <a:cxn ang="0">
                <a:pos x="43" y="15"/>
              </a:cxn>
              <a:cxn ang="0">
                <a:pos x="42" y="14"/>
              </a:cxn>
              <a:cxn ang="0">
                <a:pos x="38" y="12"/>
              </a:cxn>
              <a:cxn ang="0">
                <a:pos x="38" y="16"/>
              </a:cxn>
              <a:cxn ang="0">
                <a:pos x="37" y="19"/>
              </a:cxn>
              <a:cxn ang="0">
                <a:pos x="33" y="17"/>
              </a:cxn>
              <a:cxn ang="0">
                <a:pos x="29" y="15"/>
              </a:cxn>
              <a:cxn ang="0">
                <a:pos x="30" y="11"/>
              </a:cxn>
              <a:cxn ang="0">
                <a:pos x="35" y="10"/>
              </a:cxn>
              <a:cxn ang="0">
                <a:pos x="34" y="8"/>
              </a:cxn>
              <a:cxn ang="0">
                <a:pos x="31" y="9"/>
              </a:cxn>
              <a:cxn ang="0">
                <a:pos x="27" y="6"/>
              </a:cxn>
              <a:cxn ang="0">
                <a:pos x="28" y="9"/>
              </a:cxn>
              <a:cxn ang="0">
                <a:pos x="26" y="9"/>
              </a:cxn>
              <a:cxn ang="0">
                <a:pos x="23" y="7"/>
              </a:cxn>
              <a:cxn ang="0">
                <a:pos x="21" y="8"/>
              </a:cxn>
              <a:cxn ang="0">
                <a:pos x="23" y="9"/>
              </a:cxn>
              <a:cxn ang="0">
                <a:pos x="22" y="10"/>
              </a:cxn>
              <a:cxn ang="0">
                <a:pos x="10" y="18"/>
              </a:cxn>
              <a:cxn ang="0">
                <a:pos x="11" y="19"/>
              </a:cxn>
              <a:cxn ang="0">
                <a:pos x="13" y="22"/>
              </a:cxn>
              <a:cxn ang="0">
                <a:pos x="12" y="26"/>
              </a:cxn>
              <a:cxn ang="0">
                <a:pos x="15" y="30"/>
              </a:cxn>
              <a:cxn ang="0">
                <a:pos x="18" y="35"/>
              </a:cxn>
              <a:cxn ang="0">
                <a:pos x="19" y="37"/>
              </a:cxn>
              <a:cxn ang="0">
                <a:pos x="17" y="32"/>
              </a:cxn>
              <a:cxn ang="0">
                <a:pos x="21" y="37"/>
              </a:cxn>
              <a:cxn ang="0">
                <a:pos x="25" y="41"/>
              </a:cxn>
              <a:cxn ang="0">
                <a:pos x="30" y="44"/>
              </a:cxn>
              <a:cxn ang="0">
                <a:pos x="35" y="47"/>
              </a:cxn>
              <a:cxn ang="0">
                <a:pos x="36" y="47"/>
              </a:cxn>
              <a:cxn ang="0">
                <a:pos x="34" y="43"/>
              </a:cxn>
              <a:cxn ang="0">
                <a:pos x="32" y="42"/>
              </a:cxn>
              <a:cxn ang="0">
                <a:pos x="32" y="39"/>
              </a:cxn>
              <a:cxn ang="0">
                <a:pos x="28" y="41"/>
              </a:cxn>
              <a:cxn ang="0">
                <a:pos x="27" y="34"/>
              </a:cxn>
              <a:cxn ang="0">
                <a:pos x="30" y="34"/>
              </a:cxn>
              <a:cxn ang="0">
                <a:pos x="32" y="33"/>
              </a:cxn>
              <a:cxn ang="0">
                <a:pos x="35" y="34"/>
              </a:cxn>
              <a:cxn ang="0">
                <a:pos x="36" y="33"/>
              </a:cxn>
              <a:cxn ang="0">
                <a:pos x="38" y="29"/>
              </a:cxn>
              <a:cxn ang="0">
                <a:pos x="38" y="28"/>
              </a:cxn>
              <a:cxn ang="0">
                <a:pos x="41" y="26"/>
              </a:cxn>
              <a:cxn ang="0">
                <a:pos x="43" y="23"/>
              </a:cxn>
              <a:cxn ang="0">
                <a:pos x="44" y="22"/>
              </a:cxn>
              <a:cxn ang="0">
                <a:pos x="41" y="22"/>
              </a:cxn>
              <a:cxn ang="0">
                <a:pos x="48" y="48"/>
              </a:cxn>
              <a:cxn ang="0">
                <a:pos x="44" y="47"/>
              </a:cxn>
              <a:cxn ang="0">
                <a:pos x="41" y="47"/>
              </a:cxn>
              <a:cxn ang="0">
                <a:pos x="38" y="46"/>
              </a:cxn>
              <a:cxn ang="0">
                <a:pos x="37" y="50"/>
              </a:cxn>
              <a:cxn ang="0">
                <a:pos x="36" y="54"/>
              </a:cxn>
              <a:cxn ang="0">
                <a:pos x="50" y="49"/>
              </a:cxn>
            </a:cxnLst>
            <a:rect l="0" t="0" r="r" b="b"/>
            <a:pathLst>
              <a:path w="62" h="62">
                <a:moveTo>
                  <a:pt x="62" y="31"/>
                </a:moveTo>
                <a:cubicBezTo>
                  <a:pt x="62" y="48"/>
                  <a:pt x="48" y="62"/>
                  <a:pt x="31" y="62"/>
                </a:cubicBezTo>
                <a:cubicBezTo>
                  <a:pt x="14" y="62"/>
                  <a:pt x="0" y="48"/>
                  <a:pt x="0" y="31"/>
                </a:cubicBezTo>
                <a:cubicBezTo>
                  <a:pt x="0" y="14"/>
                  <a:pt x="14" y="0"/>
                  <a:pt x="31" y="0"/>
                </a:cubicBezTo>
                <a:cubicBezTo>
                  <a:pt x="48" y="0"/>
                  <a:pt x="62" y="14"/>
                  <a:pt x="62" y="31"/>
                </a:cubicBezTo>
                <a:close/>
                <a:moveTo>
                  <a:pt x="41" y="22"/>
                </a:moveTo>
                <a:cubicBezTo>
                  <a:pt x="42" y="22"/>
                  <a:pt x="42" y="21"/>
                  <a:pt x="42" y="21"/>
                </a:cubicBezTo>
                <a:cubicBezTo>
                  <a:pt x="42" y="21"/>
                  <a:pt x="42" y="21"/>
                  <a:pt x="43" y="21"/>
                </a:cubicBezTo>
                <a:cubicBezTo>
                  <a:pt x="43" y="20"/>
                  <a:pt x="44" y="20"/>
                  <a:pt x="45" y="20"/>
                </a:cubicBezTo>
                <a:cubicBezTo>
                  <a:pt x="46" y="20"/>
                  <a:pt x="46" y="20"/>
                  <a:pt x="47" y="21"/>
                </a:cubicBezTo>
                <a:cubicBezTo>
                  <a:pt x="47" y="20"/>
                  <a:pt x="48" y="20"/>
                  <a:pt x="48" y="20"/>
                </a:cubicBezTo>
                <a:cubicBezTo>
                  <a:pt x="48" y="19"/>
                  <a:pt x="49" y="19"/>
                  <a:pt x="49" y="19"/>
                </a:cubicBezTo>
                <a:cubicBezTo>
                  <a:pt x="49" y="19"/>
                  <a:pt x="49" y="18"/>
                  <a:pt x="49" y="18"/>
                </a:cubicBezTo>
                <a:cubicBezTo>
                  <a:pt x="49" y="18"/>
                  <a:pt x="48" y="18"/>
                  <a:pt x="48" y="17"/>
                </a:cubicBezTo>
                <a:cubicBezTo>
                  <a:pt x="48" y="17"/>
                  <a:pt x="48" y="17"/>
                  <a:pt x="48" y="17"/>
                </a:cubicBezTo>
                <a:cubicBezTo>
                  <a:pt x="48" y="17"/>
                  <a:pt x="47" y="17"/>
                  <a:pt x="47" y="17"/>
                </a:cubicBezTo>
                <a:cubicBezTo>
                  <a:pt x="46" y="17"/>
                  <a:pt x="46" y="16"/>
                  <a:pt x="46" y="16"/>
                </a:cubicBezTo>
                <a:cubicBezTo>
                  <a:pt x="46" y="15"/>
                  <a:pt x="45" y="15"/>
                  <a:pt x="45" y="15"/>
                </a:cubicBezTo>
                <a:cubicBezTo>
                  <a:pt x="45" y="15"/>
                  <a:pt x="45" y="14"/>
                  <a:pt x="45" y="14"/>
                </a:cubicBezTo>
                <a:cubicBezTo>
                  <a:pt x="44" y="14"/>
                  <a:pt x="44" y="15"/>
                  <a:pt x="44" y="15"/>
                </a:cubicBezTo>
                <a:cubicBezTo>
                  <a:pt x="43" y="15"/>
                  <a:pt x="43" y="15"/>
                  <a:pt x="43" y="15"/>
                </a:cubicBezTo>
                <a:cubicBezTo>
                  <a:pt x="43" y="15"/>
                  <a:pt x="43" y="15"/>
                  <a:pt x="42" y="15"/>
                </a:cubicBezTo>
                <a:cubicBezTo>
                  <a:pt x="43" y="15"/>
                  <a:pt x="42" y="15"/>
                  <a:pt x="42" y="15"/>
                </a:cubicBezTo>
                <a:cubicBezTo>
                  <a:pt x="42" y="14"/>
                  <a:pt x="42" y="14"/>
                  <a:pt x="42" y="14"/>
                </a:cubicBezTo>
                <a:cubicBezTo>
                  <a:pt x="42" y="14"/>
                  <a:pt x="42" y="14"/>
                  <a:pt x="42" y="14"/>
                </a:cubicBezTo>
                <a:cubicBezTo>
                  <a:pt x="42" y="13"/>
                  <a:pt x="41" y="13"/>
                  <a:pt x="40" y="13"/>
                </a:cubicBezTo>
                <a:cubicBezTo>
                  <a:pt x="40" y="12"/>
                  <a:pt x="38" y="12"/>
                  <a:pt x="38" y="12"/>
                </a:cubicBezTo>
                <a:cubicBezTo>
                  <a:pt x="37" y="13"/>
                  <a:pt x="38" y="13"/>
                  <a:pt x="38" y="14"/>
                </a:cubicBezTo>
                <a:cubicBezTo>
                  <a:pt x="38" y="14"/>
                  <a:pt x="37" y="14"/>
                  <a:pt x="37" y="15"/>
                </a:cubicBezTo>
                <a:cubicBezTo>
                  <a:pt x="37" y="15"/>
                  <a:pt x="38" y="15"/>
                  <a:pt x="38" y="16"/>
                </a:cubicBezTo>
                <a:cubicBezTo>
                  <a:pt x="38" y="17"/>
                  <a:pt x="37" y="17"/>
                  <a:pt x="37" y="17"/>
                </a:cubicBezTo>
                <a:cubicBezTo>
                  <a:pt x="37" y="18"/>
                  <a:pt x="37" y="18"/>
                  <a:pt x="37" y="19"/>
                </a:cubicBezTo>
                <a:cubicBezTo>
                  <a:pt x="38" y="19"/>
                  <a:pt x="37" y="19"/>
                  <a:pt x="37" y="19"/>
                </a:cubicBezTo>
                <a:cubicBezTo>
                  <a:pt x="36" y="20"/>
                  <a:pt x="35" y="19"/>
                  <a:pt x="35" y="18"/>
                </a:cubicBezTo>
                <a:cubicBezTo>
                  <a:pt x="35" y="18"/>
                  <a:pt x="35" y="17"/>
                  <a:pt x="34" y="17"/>
                </a:cubicBezTo>
                <a:cubicBezTo>
                  <a:pt x="34" y="17"/>
                  <a:pt x="33" y="17"/>
                  <a:pt x="33" y="17"/>
                </a:cubicBezTo>
                <a:cubicBezTo>
                  <a:pt x="33" y="16"/>
                  <a:pt x="32" y="16"/>
                  <a:pt x="32" y="16"/>
                </a:cubicBezTo>
                <a:cubicBezTo>
                  <a:pt x="31" y="16"/>
                  <a:pt x="30" y="16"/>
                  <a:pt x="29" y="16"/>
                </a:cubicBezTo>
                <a:cubicBezTo>
                  <a:pt x="30" y="16"/>
                  <a:pt x="29" y="15"/>
                  <a:pt x="29" y="15"/>
                </a:cubicBezTo>
                <a:cubicBezTo>
                  <a:pt x="29" y="14"/>
                  <a:pt x="29" y="14"/>
                  <a:pt x="29" y="14"/>
                </a:cubicBezTo>
                <a:cubicBezTo>
                  <a:pt x="29" y="13"/>
                  <a:pt x="29" y="13"/>
                  <a:pt x="29" y="13"/>
                </a:cubicBezTo>
                <a:cubicBezTo>
                  <a:pt x="29" y="12"/>
                  <a:pt x="30" y="11"/>
                  <a:pt x="30" y="11"/>
                </a:cubicBezTo>
                <a:cubicBezTo>
                  <a:pt x="31" y="12"/>
                  <a:pt x="31" y="12"/>
                  <a:pt x="32" y="11"/>
                </a:cubicBezTo>
                <a:cubicBezTo>
                  <a:pt x="32" y="11"/>
                  <a:pt x="32" y="10"/>
                  <a:pt x="33" y="10"/>
                </a:cubicBezTo>
                <a:cubicBezTo>
                  <a:pt x="33" y="9"/>
                  <a:pt x="34" y="10"/>
                  <a:pt x="35" y="10"/>
                </a:cubicBezTo>
                <a:cubicBezTo>
                  <a:pt x="35" y="10"/>
                  <a:pt x="35" y="9"/>
                  <a:pt x="35" y="9"/>
                </a:cubicBezTo>
                <a:cubicBezTo>
                  <a:pt x="35" y="9"/>
                  <a:pt x="35" y="8"/>
                  <a:pt x="35" y="8"/>
                </a:cubicBezTo>
                <a:cubicBezTo>
                  <a:pt x="34" y="7"/>
                  <a:pt x="33" y="8"/>
                  <a:pt x="34" y="8"/>
                </a:cubicBezTo>
                <a:cubicBezTo>
                  <a:pt x="34" y="8"/>
                  <a:pt x="33" y="10"/>
                  <a:pt x="32" y="9"/>
                </a:cubicBezTo>
                <a:cubicBezTo>
                  <a:pt x="32" y="9"/>
                  <a:pt x="32" y="8"/>
                  <a:pt x="31" y="8"/>
                </a:cubicBezTo>
                <a:cubicBezTo>
                  <a:pt x="31" y="8"/>
                  <a:pt x="31" y="8"/>
                  <a:pt x="31" y="9"/>
                </a:cubicBezTo>
                <a:cubicBezTo>
                  <a:pt x="31" y="8"/>
                  <a:pt x="30" y="8"/>
                  <a:pt x="29" y="8"/>
                </a:cubicBezTo>
                <a:cubicBezTo>
                  <a:pt x="30" y="7"/>
                  <a:pt x="29" y="7"/>
                  <a:pt x="29" y="7"/>
                </a:cubicBezTo>
                <a:cubicBezTo>
                  <a:pt x="29" y="6"/>
                  <a:pt x="28" y="6"/>
                  <a:pt x="27" y="6"/>
                </a:cubicBezTo>
                <a:cubicBezTo>
                  <a:pt x="27" y="7"/>
                  <a:pt x="28" y="8"/>
                  <a:pt x="29" y="8"/>
                </a:cubicBezTo>
                <a:cubicBezTo>
                  <a:pt x="29" y="8"/>
                  <a:pt x="29" y="8"/>
                  <a:pt x="29" y="8"/>
                </a:cubicBezTo>
                <a:cubicBezTo>
                  <a:pt x="29" y="8"/>
                  <a:pt x="28" y="9"/>
                  <a:pt x="28" y="9"/>
                </a:cubicBezTo>
                <a:cubicBezTo>
                  <a:pt x="28" y="9"/>
                  <a:pt x="28" y="10"/>
                  <a:pt x="28" y="10"/>
                </a:cubicBezTo>
                <a:cubicBezTo>
                  <a:pt x="27" y="10"/>
                  <a:pt x="27" y="9"/>
                  <a:pt x="27" y="9"/>
                </a:cubicBezTo>
                <a:cubicBezTo>
                  <a:pt x="28" y="9"/>
                  <a:pt x="26" y="9"/>
                  <a:pt x="26" y="9"/>
                </a:cubicBezTo>
                <a:cubicBezTo>
                  <a:pt x="25" y="9"/>
                  <a:pt x="24" y="9"/>
                  <a:pt x="24" y="9"/>
                </a:cubicBezTo>
                <a:cubicBezTo>
                  <a:pt x="24" y="8"/>
                  <a:pt x="24" y="7"/>
                  <a:pt x="24" y="8"/>
                </a:cubicBezTo>
                <a:cubicBezTo>
                  <a:pt x="24" y="7"/>
                  <a:pt x="23" y="7"/>
                  <a:pt x="23" y="7"/>
                </a:cubicBezTo>
                <a:cubicBezTo>
                  <a:pt x="22" y="7"/>
                  <a:pt x="21" y="8"/>
                  <a:pt x="19" y="9"/>
                </a:cubicBezTo>
                <a:cubicBezTo>
                  <a:pt x="19" y="9"/>
                  <a:pt x="20" y="9"/>
                  <a:pt x="20" y="9"/>
                </a:cubicBezTo>
                <a:cubicBezTo>
                  <a:pt x="20" y="8"/>
                  <a:pt x="20" y="8"/>
                  <a:pt x="21" y="8"/>
                </a:cubicBezTo>
                <a:cubicBezTo>
                  <a:pt x="21" y="8"/>
                  <a:pt x="22" y="7"/>
                  <a:pt x="22" y="8"/>
                </a:cubicBezTo>
                <a:cubicBezTo>
                  <a:pt x="22" y="8"/>
                  <a:pt x="23" y="8"/>
                  <a:pt x="23" y="8"/>
                </a:cubicBezTo>
                <a:cubicBezTo>
                  <a:pt x="23" y="8"/>
                  <a:pt x="23" y="8"/>
                  <a:pt x="23" y="9"/>
                </a:cubicBezTo>
                <a:cubicBezTo>
                  <a:pt x="23" y="8"/>
                  <a:pt x="23" y="9"/>
                  <a:pt x="22" y="9"/>
                </a:cubicBezTo>
                <a:cubicBezTo>
                  <a:pt x="22" y="9"/>
                  <a:pt x="21" y="9"/>
                  <a:pt x="21" y="9"/>
                </a:cubicBezTo>
                <a:cubicBezTo>
                  <a:pt x="21" y="9"/>
                  <a:pt x="22" y="10"/>
                  <a:pt x="22" y="10"/>
                </a:cubicBezTo>
                <a:cubicBezTo>
                  <a:pt x="21" y="9"/>
                  <a:pt x="21" y="9"/>
                  <a:pt x="20" y="9"/>
                </a:cubicBezTo>
                <a:cubicBezTo>
                  <a:pt x="20" y="9"/>
                  <a:pt x="19" y="9"/>
                  <a:pt x="19" y="9"/>
                </a:cubicBezTo>
                <a:cubicBezTo>
                  <a:pt x="15" y="11"/>
                  <a:pt x="12" y="14"/>
                  <a:pt x="10" y="18"/>
                </a:cubicBezTo>
                <a:cubicBezTo>
                  <a:pt x="10" y="18"/>
                  <a:pt x="10" y="18"/>
                  <a:pt x="10" y="18"/>
                </a:cubicBezTo>
                <a:cubicBezTo>
                  <a:pt x="10" y="18"/>
                  <a:pt x="10" y="19"/>
                  <a:pt x="11" y="19"/>
                </a:cubicBezTo>
                <a:cubicBezTo>
                  <a:pt x="11" y="19"/>
                  <a:pt x="11" y="19"/>
                  <a:pt x="11" y="19"/>
                </a:cubicBezTo>
                <a:cubicBezTo>
                  <a:pt x="11" y="19"/>
                  <a:pt x="13" y="20"/>
                  <a:pt x="13" y="21"/>
                </a:cubicBezTo>
                <a:cubicBezTo>
                  <a:pt x="13" y="21"/>
                  <a:pt x="13" y="21"/>
                  <a:pt x="14" y="21"/>
                </a:cubicBezTo>
                <a:cubicBezTo>
                  <a:pt x="14" y="22"/>
                  <a:pt x="13" y="22"/>
                  <a:pt x="13" y="22"/>
                </a:cubicBezTo>
                <a:cubicBezTo>
                  <a:pt x="13" y="22"/>
                  <a:pt x="12" y="21"/>
                  <a:pt x="12" y="22"/>
                </a:cubicBezTo>
                <a:cubicBezTo>
                  <a:pt x="12" y="22"/>
                  <a:pt x="12" y="23"/>
                  <a:pt x="13" y="23"/>
                </a:cubicBezTo>
                <a:cubicBezTo>
                  <a:pt x="12" y="23"/>
                  <a:pt x="12" y="25"/>
                  <a:pt x="12" y="26"/>
                </a:cubicBezTo>
                <a:cubicBezTo>
                  <a:pt x="12" y="26"/>
                  <a:pt x="12" y="26"/>
                  <a:pt x="12" y="26"/>
                </a:cubicBezTo>
                <a:cubicBezTo>
                  <a:pt x="12" y="26"/>
                  <a:pt x="13" y="28"/>
                  <a:pt x="13" y="28"/>
                </a:cubicBezTo>
                <a:cubicBezTo>
                  <a:pt x="13" y="28"/>
                  <a:pt x="14" y="30"/>
                  <a:pt x="15" y="30"/>
                </a:cubicBezTo>
                <a:cubicBezTo>
                  <a:pt x="15" y="30"/>
                  <a:pt x="16" y="31"/>
                  <a:pt x="16" y="31"/>
                </a:cubicBezTo>
                <a:cubicBezTo>
                  <a:pt x="17" y="32"/>
                  <a:pt x="17" y="33"/>
                  <a:pt x="17" y="33"/>
                </a:cubicBezTo>
                <a:cubicBezTo>
                  <a:pt x="17" y="34"/>
                  <a:pt x="18" y="34"/>
                  <a:pt x="18" y="35"/>
                </a:cubicBezTo>
                <a:cubicBezTo>
                  <a:pt x="18" y="35"/>
                  <a:pt x="18" y="35"/>
                  <a:pt x="18" y="35"/>
                </a:cubicBezTo>
                <a:cubicBezTo>
                  <a:pt x="18" y="35"/>
                  <a:pt x="19" y="35"/>
                  <a:pt x="19" y="36"/>
                </a:cubicBezTo>
                <a:cubicBezTo>
                  <a:pt x="19" y="36"/>
                  <a:pt x="19" y="37"/>
                  <a:pt x="19" y="37"/>
                </a:cubicBezTo>
                <a:cubicBezTo>
                  <a:pt x="20" y="36"/>
                  <a:pt x="19" y="35"/>
                  <a:pt x="18" y="34"/>
                </a:cubicBezTo>
                <a:cubicBezTo>
                  <a:pt x="18" y="34"/>
                  <a:pt x="18" y="34"/>
                  <a:pt x="18" y="33"/>
                </a:cubicBezTo>
                <a:cubicBezTo>
                  <a:pt x="18" y="33"/>
                  <a:pt x="18" y="32"/>
                  <a:pt x="17" y="32"/>
                </a:cubicBezTo>
                <a:cubicBezTo>
                  <a:pt x="18" y="32"/>
                  <a:pt x="18" y="32"/>
                  <a:pt x="18" y="33"/>
                </a:cubicBezTo>
                <a:cubicBezTo>
                  <a:pt x="18" y="33"/>
                  <a:pt x="20" y="35"/>
                  <a:pt x="20" y="35"/>
                </a:cubicBezTo>
                <a:cubicBezTo>
                  <a:pt x="20" y="35"/>
                  <a:pt x="21" y="37"/>
                  <a:pt x="21" y="37"/>
                </a:cubicBezTo>
                <a:cubicBezTo>
                  <a:pt x="21" y="37"/>
                  <a:pt x="22" y="37"/>
                  <a:pt x="22" y="38"/>
                </a:cubicBezTo>
                <a:cubicBezTo>
                  <a:pt x="22" y="38"/>
                  <a:pt x="22" y="39"/>
                  <a:pt x="23" y="40"/>
                </a:cubicBezTo>
                <a:cubicBezTo>
                  <a:pt x="23" y="41"/>
                  <a:pt x="24" y="41"/>
                  <a:pt x="25" y="41"/>
                </a:cubicBezTo>
                <a:cubicBezTo>
                  <a:pt x="25" y="42"/>
                  <a:pt x="26" y="42"/>
                  <a:pt x="26" y="42"/>
                </a:cubicBezTo>
                <a:cubicBezTo>
                  <a:pt x="27" y="43"/>
                  <a:pt x="27" y="42"/>
                  <a:pt x="28" y="42"/>
                </a:cubicBezTo>
                <a:cubicBezTo>
                  <a:pt x="29" y="42"/>
                  <a:pt x="29" y="43"/>
                  <a:pt x="30" y="44"/>
                </a:cubicBezTo>
                <a:cubicBezTo>
                  <a:pt x="31" y="44"/>
                  <a:pt x="32" y="44"/>
                  <a:pt x="32" y="44"/>
                </a:cubicBezTo>
                <a:cubicBezTo>
                  <a:pt x="32" y="44"/>
                  <a:pt x="33" y="46"/>
                  <a:pt x="33" y="46"/>
                </a:cubicBezTo>
                <a:cubicBezTo>
                  <a:pt x="34" y="46"/>
                  <a:pt x="34" y="47"/>
                  <a:pt x="35" y="47"/>
                </a:cubicBezTo>
                <a:cubicBezTo>
                  <a:pt x="35" y="47"/>
                  <a:pt x="35" y="47"/>
                  <a:pt x="35" y="47"/>
                </a:cubicBezTo>
                <a:cubicBezTo>
                  <a:pt x="35" y="47"/>
                  <a:pt x="36" y="48"/>
                  <a:pt x="36" y="48"/>
                </a:cubicBezTo>
                <a:cubicBezTo>
                  <a:pt x="36" y="48"/>
                  <a:pt x="36" y="47"/>
                  <a:pt x="36" y="47"/>
                </a:cubicBezTo>
                <a:cubicBezTo>
                  <a:pt x="36" y="47"/>
                  <a:pt x="35" y="47"/>
                  <a:pt x="34" y="46"/>
                </a:cubicBezTo>
                <a:cubicBezTo>
                  <a:pt x="34" y="46"/>
                  <a:pt x="34" y="45"/>
                  <a:pt x="34" y="45"/>
                </a:cubicBezTo>
                <a:cubicBezTo>
                  <a:pt x="35" y="45"/>
                  <a:pt x="35" y="44"/>
                  <a:pt x="34" y="43"/>
                </a:cubicBezTo>
                <a:cubicBezTo>
                  <a:pt x="34" y="43"/>
                  <a:pt x="34" y="43"/>
                  <a:pt x="34" y="42"/>
                </a:cubicBezTo>
                <a:cubicBezTo>
                  <a:pt x="33" y="43"/>
                  <a:pt x="33" y="42"/>
                  <a:pt x="32" y="42"/>
                </a:cubicBezTo>
                <a:cubicBezTo>
                  <a:pt x="32" y="42"/>
                  <a:pt x="32" y="42"/>
                  <a:pt x="32" y="42"/>
                </a:cubicBezTo>
                <a:cubicBezTo>
                  <a:pt x="32" y="42"/>
                  <a:pt x="32" y="43"/>
                  <a:pt x="32" y="42"/>
                </a:cubicBezTo>
                <a:cubicBezTo>
                  <a:pt x="32" y="42"/>
                  <a:pt x="32" y="41"/>
                  <a:pt x="32" y="41"/>
                </a:cubicBezTo>
                <a:cubicBezTo>
                  <a:pt x="32" y="40"/>
                  <a:pt x="33" y="39"/>
                  <a:pt x="32" y="39"/>
                </a:cubicBezTo>
                <a:cubicBezTo>
                  <a:pt x="31" y="39"/>
                  <a:pt x="31" y="39"/>
                  <a:pt x="31" y="40"/>
                </a:cubicBezTo>
                <a:cubicBezTo>
                  <a:pt x="30" y="40"/>
                  <a:pt x="30" y="40"/>
                  <a:pt x="30" y="41"/>
                </a:cubicBezTo>
                <a:cubicBezTo>
                  <a:pt x="30" y="41"/>
                  <a:pt x="28" y="41"/>
                  <a:pt x="28" y="41"/>
                </a:cubicBezTo>
                <a:cubicBezTo>
                  <a:pt x="27" y="40"/>
                  <a:pt x="27" y="39"/>
                  <a:pt x="27" y="38"/>
                </a:cubicBezTo>
                <a:cubicBezTo>
                  <a:pt x="27" y="37"/>
                  <a:pt x="27" y="36"/>
                  <a:pt x="27" y="35"/>
                </a:cubicBezTo>
                <a:cubicBezTo>
                  <a:pt x="27" y="35"/>
                  <a:pt x="27" y="34"/>
                  <a:pt x="27" y="34"/>
                </a:cubicBezTo>
                <a:cubicBezTo>
                  <a:pt x="28" y="34"/>
                  <a:pt x="28" y="34"/>
                  <a:pt x="28" y="34"/>
                </a:cubicBezTo>
                <a:cubicBezTo>
                  <a:pt x="28" y="34"/>
                  <a:pt x="28" y="34"/>
                  <a:pt x="28" y="34"/>
                </a:cubicBezTo>
                <a:cubicBezTo>
                  <a:pt x="28" y="34"/>
                  <a:pt x="29" y="33"/>
                  <a:pt x="30" y="34"/>
                </a:cubicBezTo>
                <a:cubicBezTo>
                  <a:pt x="30" y="34"/>
                  <a:pt x="31" y="34"/>
                  <a:pt x="31" y="33"/>
                </a:cubicBezTo>
                <a:cubicBezTo>
                  <a:pt x="31" y="33"/>
                  <a:pt x="31" y="33"/>
                  <a:pt x="31" y="33"/>
                </a:cubicBezTo>
                <a:cubicBezTo>
                  <a:pt x="31" y="33"/>
                  <a:pt x="31" y="33"/>
                  <a:pt x="32" y="33"/>
                </a:cubicBezTo>
                <a:cubicBezTo>
                  <a:pt x="32" y="33"/>
                  <a:pt x="33" y="33"/>
                  <a:pt x="33" y="33"/>
                </a:cubicBezTo>
                <a:cubicBezTo>
                  <a:pt x="34" y="34"/>
                  <a:pt x="34" y="34"/>
                  <a:pt x="34" y="33"/>
                </a:cubicBezTo>
                <a:cubicBezTo>
                  <a:pt x="35" y="34"/>
                  <a:pt x="35" y="34"/>
                  <a:pt x="35" y="34"/>
                </a:cubicBezTo>
                <a:cubicBezTo>
                  <a:pt x="35" y="35"/>
                  <a:pt x="35" y="36"/>
                  <a:pt x="36" y="36"/>
                </a:cubicBezTo>
                <a:cubicBezTo>
                  <a:pt x="36" y="37"/>
                  <a:pt x="36" y="35"/>
                  <a:pt x="36" y="35"/>
                </a:cubicBezTo>
                <a:cubicBezTo>
                  <a:pt x="36" y="35"/>
                  <a:pt x="36" y="33"/>
                  <a:pt x="36" y="33"/>
                </a:cubicBezTo>
                <a:cubicBezTo>
                  <a:pt x="35" y="33"/>
                  <a:pt x="35" y="32"/>
                  <a:pt x="36" y="31"/>
                </a:cubicBezTo>
                <a:cubicBezTo>
                  <a:pt x="36" y="31"/>
                  <a:pt x="37" y="31"/>
                  <a:pt x="37" y="31"/>
                </a:cubicBezTo>
                <a:cubicBezTo>
                  <a:pt x="38" y="30"/>
                  <a:pt x="38" y="30"/>
                  <a:pt x="38" y="29"/>
                </a:cubicBezTo>
                <a:cubicBezTo>
                  <a:pt x="38" y="29"/>
                  <a:pt x="38" y="29"/>
                  <a:pt x="38" y="29"/>
                </a:cubicBezTo>
                <a:cubicBezTo>
                  <a:pt x="38" y="29"/>
                  <a:pt x="38" y="28"/>
                  <a:pt x="38" y="29"/>
                </a:cubicBezTo>
                <a:cubicBezTo>
                  <a:pt x="38" y="28"/>
                  <a:pt x="38" y="28"/>
                  <a:pt x="38" y="28"/>
                </a:cubicBezTo>
                <a:cubicBezTo>
                  <a:pt x="38" y="28"/>
                  <a:pt x="38" y="27"/>
                  <a:pt x="38" y="27"/>
                </a:cubicBezTo>
                <a:cubicBezTo>
                  <a:pt x="39" y="28"/>
                  <a:pt x="40" y="27"/>
                  <a:pt x="39" y="26"/>
                </a:cubicBezTo>
                <a:cubicBezTo>
                  <a:pt x="40" y="26"/>
                  <a:pt x="41" y="26"/>
                  <a:pt x="41" y="26"/>
                </a:cubicBezTo>
                <a:cubicBezTo>
                  <a:pt x="41" y="26"/>
                  <a:pt x="41" y="25"/>
                  <a:pt x="41" y="25"/>
                </a:cubicBezTo>
                <a:cubicBezTo>
                  <a:pt x="42" y="24"/>
                  <a:pt x="42" y="24"/>
                  <a:pt x="42" y="24"/>
                </a:cubicBezTo>
                <a:cubicBezTo>
                  <a:pt x="42" y="24"/>
                  <a:pt x="43" y="24"/>
                  <a:pt x="43" y="23"/>
                </a:cubicBezTo>
                <a:cubicBezTo>
                  <a:pt x="44" y="24"/>
                  <a:pt x="45" y="23"/>
                  <a:pt x="44" y="22"/>
                </a:cubicBezTo>
                <a:cubicBezTo>
                  <a:pt x="44" y="22"/>
                  <a:pt x="44" y="22"/>
                  <a:pt x="43" y="22"/>
                </a:cubicBezTo>
                <a:cubicBezTo>
                  <a:pt x="44" y="22"/>
                  <a:pt x="44" y="22"/>
                  <a:pt x="44" y="22"/>
                </a:cubicBezTo>
                <a:cubicBezTo>
                  <a:pt x="45" y="21"/>
                  <a:pt x="44" y="21"/>
                  <a:pt x="44" y="21"/>
                </a:cubicBezTo>
                <a:cubicBezTo>
                  <a:pt x="43" y="21"/>
                  <a:pt x="43" y="21"/>
                  <a:pt x="42" y="21"/>
                </a:cubicBezTo>
                <a:cubicBezTo>
                  <a:pt x="42" y="22"/>
                  <a:pt x="42" y="22"/>
                  <a:pt x="41" y="22"/>
                </a:cubicBezTo>
                <a:close/>
                <a:moveTo>
                  <a:pt x="50" y="49"/>
                </a:moveTo>
                <a:cubicBezTo>
                  <a:pt x="50" y="49"/>
                  <a:pt x="49" y="49"/>
                  <a:pt x="49" y="49"/>
                </a:cubicBezTo>
                <a:cubicBezTo>
                  <a:pt x="49" y="49"/>
                  <a:pt x="48" y="48"/>
                  <a:pt x="48" y="48"/>
                </a:cubicBezTo>
                <a:cubicBezTo>
                  <a:pt x="48" y="48"/>
                  <a:pt x="47" y="47"/>
                  <a:pt x="47" y="47"/>
                </a:cubicBezTo>
                <a:cubicBezTo>
                  <a:pt x="46" y="46"/>
                  <a:pt x="46" y="46"/>
                  <a:pt x="45" y="46"/>
                </a:cubicBezTo>
                <a:cubicBezTo>
                  <a:pt x="45" y="46"/>
                  <a:pt x="44" y="47"/>
                  <a:pt x="44" y="47"/>
                </a:cubicBezTo>
                <a:cubicBezTo>
                  <a:pt x="44" y="46"/>
                  <a:pt x="43" y="46"/>
                  <a:pt x="43" y="46"/>
                </a:cubicBezTo>
                <a:cubicBezTo>
                  <a:pt x="42" y="46"/>
                  <a:pt x="42" y="45"/>
                  <a:pt x="41" y="46"/>
                </a:cubicBezTo>
                <a:cubicBezTo>
                  <a:pt x="41" y="46"/>
                  <a:pt x="41" y="46"/>
                  <a:pt x="41" y="47"/>
                </a:cubicBezTo>
                <a:cubicBezTo>
                  <a:pt x="40" y="46"/>
                  <a:pt x="41" y="46"/>
                  <a:pt x="41" y="45"/>
                </a:cubicBezTo>
                <a:cubicBezTo>
                  <a:pt x="40" y="45"/>
                  <a:pt x="39" y="46"/>
                  <a:pt x="39" y="46"/>
                </a:cubicBezTo>
                <a:cubicBezTo>
                  <a:pt x="39" y="46"/>
                  <a:pt x="39" y="46"/>
                  <a:pt x="38" y="46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47"/>
                  <a:pt x="37" y="47"/>
                  <a:pt x="37" y="47"/>
                </a:cubicBezTo>
                <a:cubicBezTo>
                  <a:pt x="37" y="48"/>
                  <a:pt x="37" y="49"/>
                  <a:pt x="37" y="50"/>
                </a:cubicBezTo>
                <a:cubicBezTo>
                  <a:pt x="38" y="50"/>
                  <a:pt x="37" y="51"/>
                  <a:pt x="37" y="52"/>
                </a:cubicBezTo>
                <a:cubicBezTo>
                  <a:pt x="37" y="52"/>
                  <a:pt x="36" y="53"/>
                  <a:pt x="36" y="53"/>
                </a:cubicBezTo>
                <a:cubicBezTo>
                  <a:pt x="36" y="54"/>
                  <a:pt x="36" y="54"/>
                  <a:pt x="36" y="54"/>
                </a:cubicBezTo>
                <a:cubicBezTo>
                  <a:pt x="36" y="55"/>
                  <a:pt x="36" y="55"/>
                  <a:pt x="36" y="56"/>
                </a:cubicBezTo>
                <a:cubicBezTo>
                  <a:pt x="36" y="56"/>
                  <a:pt x="36" y="56"/>
                  <a:pt x="36" y="57"/>
                </a:cubicBezTo>
                <a:cubicBezTo>
                  <a:pt x="41" y="56"/>
                  <a:pt x="46" y="53"/>
                  <a:pt x="50" y="4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316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„Smarte“ Zusammenarbei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2D001F-4B71-8322-F091-D1E19B17A8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Was wurde bisher erreicht</a:t>
            </a:r>
          </a:p>
        </p:txBody>
      </p:sp>
      <p:sp>
        <p:nvSpPr>
          <p:cNvPr id="104" name="Oval 60">
            <a:extLst>
              <a:ext uri="{FF2B5EF4-FFF2-40B4-BE49-F238E27FC236}">
                <a16:creationId xmlns:a16="http://schemas.microsoft.com/office/drawing/2014/main" id="{A76E0C50-895D-9A00-69C3-9E81D99F5788}"/>
              </a:ext>
            </a:extLst>
          </p:cNvPr>
          <p:cNvSpPr/>
          <p:nvPr/>
        </p:nvSpPr>
        <p:spPr bwMode="auto">
          <a:xfrm>
            <a:off x="942665" y="3220090"/>
            <a:ext cx="1122838" cy="1122837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sz="900"/>
          </a:p>
        </p:txBody>
      </p:sp>
      <p:sp>
        <p:nvSpPr>
          <p:cNvPr id="105" name="Rectangle 4">
            <a:extLst>
              <a:ext uri="{FF2B5EF4-FFF2-40B4-BE49-F238E27FC236}">
                <a16:creationId xmlns:a16="http://schemas.microsoft.com/office/drawing/2014/main" id="{E851F336-EB94-4F95-14B2-1757C317ED6A}"/>
              </a:ext>
            </a:extLst>
          </p:cNvPr>
          <p:cNvSpPr>
            <a:spLocks/>
          </p:cNvSpPr>
          <p:nvPr/>
        </p:nvSpPr>
        <p:spPr bwMode="auto">
          <a:xfrm>
            <a:off x="3025477" y="1952725"/>
            <a:ext cx="2122007" cy="433004"/>
          </a:xfrm>
          <a:prstGeom prst="rect">
            <a:avLst/>
          </a:prstGeom>
          <a:solidFill>
            <a:srgbClr val="ECEDF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9050" tIns="19050" rIns="19050" bIns="19050" anchor="ctr"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eaLnBrk="1"/>
            <a:endParaRPr lang="en-US" sz="1200" b="0">
              <a:solidFill>
                <a:srgbClr val="FFFFFF"/>
              </a:solidFill>
              <a:latin typeface="Helvetica Light" charset="0"/>
              <a:ea typeface="Helvetica Light" charset="0"/>
              <a:cs typeface="Helvetica Light" charset="0"/>
              <a:sym typeface="Helvetica Light" charset="0"/>
            </a:endParaRPr>
          </a:p>
        </p:txBody>
      </p:sp>
      <p:grpSp>
        <p:nvGrpSpPr>
          <p:cNvPr id="106" name="Group 4">
            <a:extLst>
              <a:ext uri="{FF2B5EF4-FFF2-40B4-BE49-F238E27FC236}">
                <a16:creationId xmlns:a16="http://schemas.microsoft.com/office/drawing/2014/main" id="{BD8CFD71-E9C9-0D47-CD0B-4EAA3B050194}"/>
              </a:ext>
            </a:extLst>
          </p:cNvPr>
          <p:cNvGrpSpPr/>
          <p:nvPr/>
        </p:nvGrpSpPr>
        <p:grpSpPr>
          <a:xfrm>
            <a:off x="2698975" y="1852999"/>
            <a:ext cx="644313" cy="644817"/>
            <a:chOff x="4267200" y="1429257"/>
            <a:chExt cx="977929" cy="978040"/>
          </a:xfrm>
        </p:grpSpPr>
        <p:sp>
          <p:nvSpPr>
            <p:cNvPr id="107" name="AutoShape 3">
              <a:extLst>
                <a:ext uri="{FF2B5EF4-FFF2-40B4-BE49-F238E27FC236}">
                  <a16:creationId xmlns:a16="http://schemas.microsoft.com/office/drawing/2014/main" id="{C3F147E8-616A-8392-5C37-8CA19F09C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7200" y="1429257"/>
              <a:ext cx="977929" cy="978040"/>
            </a:xfrm>
            <a:custGeom>
              <a:avLst/>
              <a:gdLst>
                <a:gd name="T0" fmla="*/ 371631440 w 19679"/>
                <a:gd name="T1" fmla="*/ 355149905 h 20595"/>
                <a:gd name="T2" fmla="*/ 371631440 w 19679"/>
                <a:gd name="T3" fmla="*/ 355149905 h 20595"/>
                <a:gd name="T4" fmla="*/ 371631440 w 19679"/>
                <a:gd name="T5" fmla="*/ 355149905 h 20595"/>
                <a:gd name="T6" fmla="*/ 371631440 w 19679"/>
                <a:gd name="T7" fmla="*/ 355149905 h 2059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9" h="20595">
                  <a:moveTo>
                    <a:pt x="9839" y="0"/>
                  </a:moveTo>
                  <a:cubicBezTo>
                    <a:pt x="7321" y="0"/>
                    <a:pt x="4803" y="1005"/>
                    <a:pt x="2882" y="3015"/>
                  </a:cubicBezTo>
                  <a:cubicBezTo>
                    <a:pt x="-961" y="7037"/>
                    <a:pt x="-961" y="13557"/>
                    <a:pt x="2882" y="17579"/>
                  </a:cubicBezTo>
                  <a:cubicBezTo>
                    <a:pt x="6725" y="21600"/>
                    <a:pt x="12953" y="21600"/>
                    <a:pt x="16796" y="17579"/>
                  </a:cubicBezTo>
                  <a:cubicBezTo>
                    <a:pt x="20639" y="13557"/>
                    <a:pt x="20639" y="7037"/>
                    <a:pt x="16796" y="3015"/>
                  </a:cubicBezTo>
                  <a:cubicBezTo>
                    <a:pt x="14875" y="1005"/>
                    <a:pt x="12357" y="0"/>
                    <a:pt x="9839" y="0"/>
                  </a:cubicBezTo>
                  <a:close/>
                  <a:moveTo>
                    <a:pt x="9839" y="1267"/>
                  </a:moveTo>
                  <a:cubicBezTo>
                    <a:pt x="12047" y="1267"/>
                    <a:pt x="14256" y="2147"/>
                    <a:pt x="15941" y="3911"/>
                  </a:cubicBezTo>
                  <a:cubicBezTo>
                    <a:pt x="19310" y="7437"/>
                    <a:pt x="19310" y="13157"/>
                    <a:pt x="15941" y="16683"/>
                  </a:cubicBezTo>
                  <a:cubicBezTo>
                    <a:pt x="12571" y="20210"/>
                    <a:pt x="7107" y="20210"/>
                    <a:pt x="3737" y="16683"/>
                  </a:cubicBezTo>
                  <a:cubicBezTo>
                    <a:pt x="368" y="13157"/>
                    <a:pt x="368" y="7437"/>
                    <a:pt x="3737" y="3911"/>
                  </a:cubicBezTo>
                  <a:cubicBezTo>
                    <a:pt x="5422" y="2147"/>
                    <a:pt x="7631" y="1267"/>
                    <a:pt x="9839" y="126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9050" tIns="19050" rIns="19050" bIns="19050" anchor="ctr"/>
            <a:lstStyle/>
            <a:p>
              <a:endParaRPr lang="en-US" sz="675"/>
            </a:p>
          </p:txBody>
        </p:sp>
        <p:sp>
          <p:nvSpPr>
            <p:cNvPr id="108" name="Oval 8">
              <a:extLst>
                <a:ext uri="{FF2B5EF4-FFF2-40B4-BE49-F238E27FC236}">
                  <a16:creationId xmlns:a16="http://schemas.microsoft.com/office/drawing/2014/main" id="{5FCD0AEF-F065-8BE2-C3EF-47D643DC73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0604" y="1580519"/>
              <a:ext cx="675513" cy="67547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9050" tIns="19050" rIns="19050" bIns="19050" anchor="ctr"/>
            <a:lstStyle>
              <a:lvl1pPr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1pPr>
              <a:lvl2pPr marL="742950" indent="-28575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2pPr>
              <a:lvl3pPr marL="1143000" indent="-22860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3pPr>
              <a:lvl4pPr marL="1600200" indent="-22860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4pPr>
              <a:lvl5pPr marL="2057400" indent="-22860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5pPr>
              <a:lvl6pPr marL="25146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6pPr>
              <a:lvl7pPr marL="29718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7pPr>
              <a:lvl8pPr marL="34290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8pPr>
              <a:lvl9pPr marL="38862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9pPr>
            </a:lstStyle>
            <a:p>
              <a:pPr algn="ctr" eaLnBrk="1"/>
              <a:endParaRPr lang="en-US" sz="1200" b="0">
                <a:solidFill>
                  <a:srgbClr val="FFFFFF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endParaRPr>
            </a:p>
          </p:txBody>
        </p:sp>
      </p:grpSp>
      <p:sp>
        <p:nvSpPr>
          <p:cNvPr id="118" name="Rectangle 5">
            <a:extLst>
              <a:ext uri="{FF2B5EF4-FFF2-40B4-BE49-F238E27FC236}">
                <a16:creationId xmlns:a16="http://schemas.microsoft.com/office/drawing/2014/main" id="{CDB7D3F6-BE2E-78DB-51BA-2C286150AF85}"/>
              </a:ext>
            </a:extLst>
          </p:cNvPr>
          <p:cNvSpPr>
            <a:spLocks/>
          </p:cNvSpPr>
          <p:nvPr/>
        </p:nvSpPr>
        <p:spPr bwMode="auto">
          <a:xfrm>
            <a:off x="5199644" y="1952725"/>
            <a:ext cx="438912" cy="43942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lIns="19050" tIns="19050" rIns="19050" bIns="19050" anchor="ctr"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eaLnBrk="1"/>
            <a:endParaRPr lang="en-US" sz="1200" b="0">
              <a:solidFill>
                <a:srgbClr val="FFFFFF"/>
              </a:solidFill>
              <a:latin typeface="Helvetica Light" charset="0"/>
              <a:ea typeface="Helvetica Light" charset="0"/>
              <a:cs typeface="Helvetica Light" charset="0"/>
              <a:sym typeface="Helvetica Light" charset="0"/>
            </a:endParaRPr>
          </a:p>
        </p:txBody>
      </p:sp>
      <p:sp>
        <p:nvSpPr>
          <p:cNvPr id="125" name="TextBox 105">
            <a:extLst>
              <a:ext uri="{FF2B5EF4-FFF2-40B4-BE49-F238E27FC236}">
                <a16:creationId xmlns:a16="http://schemas.microsoft.com/office/drawing/2014/main" id="{D4859CF1-D658-5696-E124-18C35BB024B6}"/>
              </a:ext>
            </a:extLst>
          </p:cNvPr>
          <p:cNvSpPr txBox="1"/>
          <p:nvPr/>
        </p:nvSpPr>
        <p:spPr>
          <a:xfrm>
            <a:off x="6090929" y="1943370"/>
            <a:ext cx="5801034" cy="43300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 err="1">
                <a:solidFill>
                  <a:srgbClr val="575757"/>
                </a:solidFill>
              </a:rPr>
              <a:t>Modernste</a:t>
            </a:r>
            <a:r>
              <a:rPr lang="en-US" sz="1000">
                <a:solidFill>
                  <a:srgbClr val="575757"/>
                </a:solidFill>
              </a:rPr>
              <a:t> </a:t>
            </a:r>
            <a:r>
              <a:rPr lang="en-US" sz="1000" err="1">
                <a:solidFill>
                  <a:srgbClr val="575757"/>
                </a:solidFill>
              </a:rPr>
              <a:t>Produktionsumgebung</a:t>
            </a:r>
            <a:r>
              <a:rPr lang="en-US" sz="1000">
                <a:solidFill>
                  <a:srgbClr val="575757"/>
                </a:solidFill>
              </a:rPr>
              <a:t> </a:t>
            </a:r>
            <a:r>
              <a:rPr lang="en-US" sz="1000" err="1">
                <a:solidFill>
                  <a:srgbClr val="575757"/>
                </a:solidFill>
              </a:rPr>
              <a:t>mit</a:t>
            </a:r>
            <a:r>
              <a:rPr lang="en-US" sz="1000">
                <a:solidFill>
                  <a:srgbClr val="575757"/>
                </a:solidFill>
              </a:rPr>
              <a:t> </a:t>
            </a:r>
            <a:r>
              <a:rPr lang="en-US" sz="1000" err="1">
                <a:solidFill>
                  <a:srgbClr val="575757"/>
                </a:solidFill>
              </a:rPr>
              <a:t>Kontakt</a:t>
            </a:r>
            <a:r>
              <a:rPr lang="en-US" sz="1000">
                <a:solidFill>
                  <a:srgbClr val="575757"/>
                </a:solidFill>
              </a:rPr>
              <a:t> </a:t>
            </a:r>
            <a:r>
              <a:rPr lang="en-US" sz="1000" err="1">
                <a:solidFill>
                  <a:srgbClr val="575757"/>
                </a:solidFill>
              </a:rPr>
              <a:t>zwischen</a:t>
            </a:r>
            <a:r>
              <a:rPr lang="en-US" sz="1000">
                <a:solidFill>
                  <a:srgbClr val="575757"/>
                </a:solidFill>
              </a:rPr>
              <a:t> Kunden und </a:t>
            </a:r>
            <a:r>
              <a:rPr lang="en-US" sz="1000" err="1">
                <a:solidFill>
                  <a:srgbClr val="575757"/>
                </a:solidFill>
              </a:rPr>
              <a:t>Technologieexperten</a:t>
            </a:r>
            <a:r>
              <a:rPr lang="en-US" sz="1000">
                <a:solidFill>
                  <a:srgbClr val="575757"/>
                </a:solidFill>
              </a:rPr>
              <a:t>, </a:t>
            </a:r>
          </a:p>
          <a:p>
            <a:pPr>
              <a:lnSpc>
                <a:spcPct val="150000"/>
              </a:lnSpc>
            </a:pPr>
            <a:r>
              <a:rPr lang="en-US" sz="1000">
                <a:solidFill>
                  <a:srgbClr val="575757"/>
                </a:solidFill>
              </a:rPr>
              <a:t>positive </a:t>
            </a:r>
            <a:r>
              <a:rPr lang="en-US" sz="1000" err="1">
                <a:solidFill>
                  <a:srgbClr val="575757"/>
                </a:solidFill>
              </a:rPr>
              <a:t>Kundenrückmeldung</a:t>
            </a:r>
            <a:r>
              <a:rPr lang="en-US" sz="1000">
                <a:solidFill>
                  <a:srgbClr val="575757"/>
                </a:solidFill>
              </a:rPr>
              <a:t> </a:t>
            </a:r>
            <a:r>
              <a:rPr lang="en-US" sz="1000" err="1">
                <a:solidFill>
                  <a:srgbClr val="575757"/>
                </a:solidFill>
              </a:rPr>
              <a:t>zur</a:t>
            </a:r>
            <a:r>
              <a:rPr lang="en-US" sz="1000">
                <a:solidFill>
                  <a:srgbClr val="575757"/>
                </a:solidFill>
              </a:rPr>
              <a:t> “</a:t>
            </a:r>
            <a:r>
              <a:rPr lang="en-US" sz="1000" err="1">
                <a:solidFill>
                  <a:srgbClr val="575757"/>
                </a:solidFill>
              </a:rPr>
              <a:t>echten</a:t>
            </a:r>
            <a:r>
              <a:rPr lang="en-US" sz="1000">
                <a:solidFill>
                  <a:srgbClr val="575757"/>
                </a:solidFill>
              </a:rPr>
              <a:t>” </a:t>
            </a:r>
            <a:r>
              <a:rPr lang="en-US" sz="1000" err="1">
                <a:solidFill>
                  <a:srgbClr val="575757"/>
                </a:solidFill>
              </a:rPr>
              <a:t>Produktionsumgebung</a:t>
            </a:r>
            <a:endParaRPr lang="en-US" sz="1000">
              <a:solidFill>
                <a:srgbClr val="575757"/>
              </a:solidFill>
            </a:endParaRPr>
          </a:p>
        </p:txBody>
      </p:sp>
      <p:sp>
        <p:nvSpPr>
          <p:cNvPr id="126" name="TextBox 106">
            <a:extLst>
              <a:ext uri="{FF2B5EF4-FFF2-40B4-BE49-F238E27FC236}">
                <a16:creationId xmlns:a16="http://schemas.microsoft.com/office/drawing/2014/main" id="{3AFDA255-7C8A-7B27-BE75-CF39D3A26755}"/>
              </a:ext>
            </a:extLst>
          </p:cNvPr>
          <p:cNvSpPr txBox="1"/>
          <p:nvPr/>
        </p:nvSpPr>
        <p:spPr>
          <a:xfrm>
            <a:off x="6090929" y="2896627"/>
            <a:ext cx="3948763" cy="43300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>
                <a:solidFill>
                  <a:srgbClr val="575757"/>
                </a:solidFill>
              </a:rPr>
              <a:t>-224.000 kWh Strom/Jahr</a:t>
            </a:r>
          </a:p>
          <a:p>
            <a:pPr>
              <a:lnSpc>
                <a:spcPct val="150000"/>
              </a:lnSpc>
            </a:pPr>
            <a:r>
              <a:rPr lang="en-US" sz="1000">
                <a:solidFill>
                  <a:srgbClr val="575757"/>
                </a:solidFill>
              </a:rPr>
              <a:t>durch Abbau von 5 Produktionsanlagen</a:t>
            </a:r>
          </a:p>
        </p:txBody>
      </p:sp>
      <p:sp>
        <p:nvSpPr>
          <p:cNvPr id="127" name="TextBox 107">
            <a:extLst>
              <a:ext uri="{FF2B5EF4-FFF2-40B4-BE49-F238E27FC236}">
                <a16:creationId xmlns:a16="http://schemas.microsoft.com/office/drawing/2014/main" id="{19586A68-DB3F-E3C2-6EB7-55057D9E7C62}"/>
              </a:ext>
            </a:extLst>
          </p:cNvPr>
          <p:cNvSpPr txBox="1"/>
          <p:nvPr/>
        </p:nvSpPr>
        <p:spPr>
          <a:xfrm>
            <a:off x="6100808" y="4104720"/>
            <a:ext cx="3948763" cy="43300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>
                <a:solidFill>
                  <a:srgbClr val="575757"/>
                </a:solidFill>
              </a:rPr>
              <a:t>+26% (2.300m²)</a:t>
            </a:r>
          </a:p>
          <a:p>
            <a:pPr>
              <a:lnSpc>
                <a:spcPct val="150000"/>
              </a:lnSpc>
            </a:pPr>
            <a:r>
              <a:rPr lang="en-US" sz="1000">
                <a:solidFill>
                  <a:srgbClr val="575757"/>
                </a:solidFill>
              </a:rPr>
              <a:t>durch </a:t>
            </a:r>
            <a:r>
              <a:rPr lang="en-US" sz="1000" err="1">
                <a:solidFill>
                  <a:srgbClr val="575757"/>
                </a:solidFill>
              </a:rPr>
              <a:t>Synergien</a:t>
            </a:r>
            <a:r>
              <a:rPr lang="en-US" sz="1000">
                <a:solidFill>
                  <a:srgbClr val="575757"/>
                </a:solidFill>
              </a:rPr>
              <a:t> im </a:t>
            </a:r>
            <a:r>
              <a:rPr lang="en-US" sz="1000" err="1">
                <a:solidFill>
                  <a:srgbClr val="575757"/>
                </a:solidFill>
              </a:rPr>
              <a:t>Bereich</a:t>
            </a:r>
            <a:r>
              <a:rPr lang="en-US" sz="1000">
                <a:solidFill>
                  <a:srgbClr val="575757"/>
                </a:solidFill>
              </a:rPr>
              <a:t> Produktionsanlagen, Lager, Logistik, etc.</a:t>
            </a:r>
          </a:p>
        </p:txBody>
      </p:sp>
      <p:sp>
        <p:nvSpPr>
          <p:cNvPr id="128" name="TextBox 108">
            <a:extLst>
              <a:ext uri="{FF2B5EF4-FFF2-40B4-BE49-F238E27FC236}">
                <a16:creationId xmlns:a16="http://schemas.microsoft.com/office/drawing/2014/main" id="{EC880F6F-CC65-3D0F-89D0-B632EF79FC70}"/>
              </a:ext>
            </a:extLst>
          </p:cNvPr>
          <p:cNvSpPr txBox="1"/>
          <p:nvPr/>
        </p:nvSpPr>
        <p:spPr>
          <a:xfrm>
            <a:off x="6100808" y="5128837"/>
            <a:ext cx="3948763" cy="43300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00">
                <a:solidFill>
                  <a:srgbClr val="575757"/>
                </a:solidFill>
              </a:rPr>
              <a:t>-60t Material</a:t>
            </a:r>
          </a:p>
          <a:p>
            <a:pPr>
              <a:lnSpc>
                <a:spcPct val="150000"/>
              </a:lnSpc>
            </a:pPr>
            <a:r>
              <a:rPr lang="en-US" sz="1000">
                <a:solidFill>
                  <a:srgbClr val="575757"/>
                </a:solidFill>
              </a:rPr>
              <a:t> durch Verzicht von DEMO-</a:t>
            </a:r>
            <a:r>
              <a:rPr lang="en-US" sz="1000" err="1">
                <a:solidFill>
                  <a:srgbClr val="575757"/>
                </a:solidFill>
              </a:rPr>
              <a:t>Vorführungen</a:t>
            </a:r>
            <a:endParaRPr lang="en-US" sz="1000">
              <a:solidFill>
                <a:srgbClr val="575757"/>
              </a:solidFill>
            </a:endParaRPr>
          </a:p>
        </p:txBody>
      </p:sp>
      <p:sp>
        <p:nvSpPr>
          <p:cNvPr id="129" name="Rectangle 29">
            <a:extLst>
              <a:ext uri="{FF2B5EF4-FFF2-40B4-BE49-F238E27FC236}">
                <a16:creationId xmlns:a16="http://schemas.microsoft.com/office/drawing/2014/main" id="{5DD39220-5888-5488-9108-7CC5199A46D4}"/>
              </a:ext>
            </a:extLst>
          </p:cNvPr>
          <p:cNvSpPr/>
          <p:nvPr/>
        </p:nvSpPr>
        <p:spPr>
          <a:xfrm>
            <a:off x="3830830" y="2011136"/>
            <a:ext cx="742512" cy="29335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b="1">
                <a:solidFill>
                  <a:srgbClr val="575757"/>
                </a:solidFill>
              </a:rPr>
              <a:t>Mensch</a:t>
            </a:r>
          </a:p>
        </p:txBody>
      </p:sp>
      <p:sp>
        <p:nvSpPr>
          <p:cNvPr id="133" name="Freeform 100">
            <a:extLst>
              <a:ext uri="{FF2B5EF4-FFF2-40B4-BE49-F238E27FC236}">
                <a16:creationId xmlns:a16="http://schemas.microsoft.com/office/drawing/2014/main" id="{C10F6263-162E-63BF-A9B2-A1AB61C68056}"/>
              </a:ext>
            </a:extLst>
          </p:cNvPr>
          <p:cNvSpPr>
            <a:spLocks noEditPoints="1"/>
          </p:cNvSpPr>
          <p:nvPr/>
        </p:nvSpPr>
        <p:spPr bwMode="auto">
          <a:xfrm>
            <a:off x="4837281" y="4761468"/>
            <a:ext cx="230188" cy="220663"/>
          </a:xfrm>
          <a:custGeom>
            <a:avLst/>
            <a:gdLst/>
            <a:ahLst/>
            <a:cxnLst>
              <a:cxn ang="0">
                <a:pos x="63" y="49"/>
              </a:cxn>
              <a:cxn ang="0">
                <a:pos x="58" y="44"/>
              </a:cxn>
              <a:cxn ang="0">
                <a:pos x="54" y="48"/>
              </a:cxn>
              <a:cxn ang="0">
                <a:pos x="63" y="57"/>
              </a:cxn>
              <a:cxn ang="0">
                <a:pos x="64" y="60"/>
              </a:cxn>
              <a:cxn ang="0">
                <a:pos x="59" y="64"/>
              </a:cxn>
              <a:cxn ang="0">
                <a:pos x="56" y="63"/>
              </a:cxn>
              <a:cxn ang="0">
                <a:pos x="29" y="36"/>
              </a:cxn>
              <a:cxn ang="0">
                <a:pos x="15" y="42"/>
              </a:cxn>
              <a:cxn ang="0">
                <a:pos x="0" y="27"/>
              </a:cxn>
              <a:cxn ang="0">
                <a:pos x="26" y="0"/>
              </a:cxn>
              <a:cxn ang="0">
                <a:pos x="41" y="15"/>
              </a:cxn>
              <a:cxn ang="0">
                <a:pos x="36" y="30"/>
              </a:cxn>
              <a:cxn ang="0">
                <a:pos x="50" y="44"/>
              </a:cxn>
              <a:cxn ang="0">
                <a:pos x="54" y="40"/>
              </a:cxn>
              <a:cxn ang="0">
                <a:pos x="49" y="35"/>
              </a:cxn>
              <a:cxn ang="0">
                <a:pos x="54" y="31"/>
              </a:cxn>
              <a:cxn ang="0">
                <a:pos x="55" y="31"/>
              </a:cxn>
              <a:cxn ang="0">
                <a:pos x="67" y="44"/>
              </a:cxn>
              <a:cxn ang="0">
                <a:pos x="63" y="49"/>
              </a:cxn>
              <a:cxn ang="0">
                <a:pos x="25" y="8"/>
              </a:cxn>
              <a:cxn ang="0">
                <a:pos x="18" y="16"/>
              </a:cxn>
              <a:cxn ang="0">
                <a:pos x="19" y="19"/>
              </a:cxn>
              <a:cxn ang="0">
                <a:pos x="15" y="18"/>
              </a:cxn>
              <a:cxn ang="0">
                <a:pos x="7" y="26"/>
              </a:cxn>
              <a:cxn ang="0">
                <a:pos x="15" y="34"/>
              </a:cxn>
              <a:cxn ang="0">
                <a:pos x="23" y="26"/>
              </a:cxn>
              <a:cxn ang="0">
                <a:pos x="22" y="23"/>
              </a:cxn>
              <a:cxn ang="0">
                <a:pos x="25" y="24"/>
              </a:cxn>
              <a:cxn ang="0">
                <a:pos x="33" y="16"/>
              </a:cxn>
              <a:cxn ang="0">
                <a:pos x="25" y="8"/>
              </a:cxn>
            </a:cxnLst>
            <a:rect l="0" t="0" r="r" b="b"/>
            <a:pathLst>
              <a:path w="67" h="64">
                <a:moveTo>
                  <a:pt x="63" y="49"/>
                </a:moveTo>
                <a:cubicBezTo>
                  <a:pt x="62" y="49"/>
                  <a:pt x="58" y="45"/>
                  <a:pt x="58" y="44"/>
                </a:cubicBezTo>
                <a:cubicBezTo>
                  <a:pt x="54" y="48"/>
                  <a:pt x="54" y="48"/>
                  <a:pt x="54" y="48"/>
                </a:cubicBezTo>
                <a:cubicBezTo>
                  <a:pt x="63" y="57"/>
                  <a:pt x="63" y="57"/>
                  <a:pt x="63" y="57"/>
                </a:cubicBezTo>
                <a:cubicBezTo>
                  <a:pt x="63" y="58"/>
                  <a:pt x="64" y="59"/>
                  <a:pt x="64" y="60"/>
                </a:cubicBezTo>
                <a:cubicBezTo>
                  <a:pt x="64" y="62"/>
                  <a:pt x="61" y="64"/>
                  <a:pt x="59" y="64"/>
                </a:cubicBezTo>
                <a:cubicBezTo>
                  <a:pt x="58" y="64"/>
                  <a:pt x="57" y="64"/>
                  <a:pt x="56" y="63"/>
                </a:cubicBezTo>
                <a:cubicBezTo>
                  <a:pt x="29" y="36"/>
                  <a:pt x="29" y="36"/>
                  <a:pt x="29" y="36"/>
                </a:cubicBezTo>
                <a:cubicBezTo>
                  <a:pt x="25" y="39"/>
                  <a:pt x="20" y="42"/>
                  <a:pt x="15" y="42"/>
                </a:cubicBezTo>
                <a:cubicBezTo>
                  <a:pt x="6" y="42"/>
                  <a:pt x="0" y="36"/>
                  <a:pt x="0" y="27"/>
                </a:cubicBezTo>
                <a:cubicBezTo>
                  <a:pt x="0" y="14"/>
                  <a:pt x="13" y="0"/>
                  <a:pt x="26" y="0"/>
                </a:cubicBezTo>
                <a:cubicBezTo>
                  <a:pt x="35" y="0"/>
                  <a:pt x="41" y="6"/>
                  <a:pt x="41" y="15"/>
                </a:cubicBezTo>
                <a:cubicBezTo>
                  <a:pt x="41" y="21"/>
                  <a:pt x="39" y="26"/>
                  <a:pt x="36" y="30"/>
                </a:cubicBezTo>
                <a:cubicBezTo>
                  <a:pt x="50" y="44"/>
                  <a:pt x="50" y="44"/>
                  <a:pt x="50" y="44"/>
                </a:cubicBezTo>
                <a:cubicBezTo>
                  <a:pt x="54" y="40"/>
                  <a:pt x="54" y="40"/>
                  <a:pt x="54" y="40"/>
                </a:cubicBezTo>
                <a:cubicBezTo>
                  <a:pt x="53" y="39"/>
                  <a:pt x="49" y="36"/>
                  <a:pt x="49" y="35"/>
                </a:cubicBezTo>
                <a:cubicBezTo>
                  <a:pt x="49" y="34"/>
                  <a:pt x="53" y="31"/>
                  <a:pt x="54" y="31"/>
                </a:cubicBezTo>
                <a:cubicBezTo>
                  <a:pt x="54" y="31"/>
                  <a:pt x="54" y="31"/>
                  <a:pt x="55" y="31"/>
                </a:cubicBezTo>
                <a:cubicBezTo>
                  <a:pt x="56" y="32"/>
                  <a:pt x="67" y="43"/>
                  <a:pt x="67" y="44"/>
                </a:cubicBezTo>
                <a:cubicBezTo>
                  <a:pt x="67" y="45"/>
                  <a:pt x="64" y="49"/>
                  <a:pt x="63" y="49"/>
                </a:cubicBezTo>
                <a:close/>
                <a:moveTo>
                  <a:pt x="25" y="8"/>
                </a:moveTo>
                <a:cubicBezTo>
                  <a:pt x="21" y="8"/>
                  <a:pt x="18" y="12"/>
                  <a:pt x="18" y="16"/>
                </a:cubicBezTo>
                <a:cubicBezTo>
                  <a:pt x="18" y="17"/>
                  <a:pt x="18" y="18"/>
                  <a:pt x="19" y="19"/>
                </a:cubicBezTo>
                <a:cubicBezTo>
                  <a:pt x="17" y="19"/>
                  <a:pt x="16" y="18"/>
                  <a:pt x="15" y="18"/>
                </a:cubicBezTo>
                <a:cubicBezTo>
                  <a:pt x="11" y="18"/>
                  <a:pt x="7" y="22"/>
                  <a:pt x="7" y="26"/>
                </a:cubicBezTo>
                <a:cubicBezTo>
                  <a:pt x="7" y="30"/>
                  <a:pt x="11" y="34"/>
                  <a:pt x="15" y="34"/>
                </a:cubicBezTo>
                <a:cubicBezTo>
                  <a:pt x="19" y="34"/>
                  <a:pt x="23" y="30"/>
                  <a:pt x="23" y="26"/>
                </a:cubicBezTo>
                <a:cubicBezTo>
                  <a:pt x="23" y="25"/>
                  <a:pt x="23" y="24"/>
                  <a:pt x="22" y="23"/>
                </a:cubicBezTo>
                <a:cubicBezTo>
                  <a:pt x="23" y="23"/>
                  <a:pt x="24" y="24"/>
                  <a:pt x="25" y="24"/>
                </a:cubicBezTo>
                <a:cubicBezTo>
                  <a:pt x="30" y="24"/>
                  <a:pt x="33" y="20"/>
                  <a:pt x="33" y="16"/>
                </a:cubicBezTo>
                <a:cubicBezTo>
                  <a:pt x="33" y="12"/>
                  <a:pt x="30" y="8"/>
                  <a:pt x="25" y="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Chevron 13">
            <a:extLst>
              <a:ext uri="{FF2B5EF4-FFF2-40B4-BE49-F238E27FC236}">
                <a16:creationId xmlns:a16="http://schemas.microsoft.com/office/drawing/2014/main" id="{B19C6B0D-3531-96A2-C573-F20151B7189E}"/>
              </a:ext>
            </a:extLst>
          </p:cNvPr>
          <p:cNvSpPr/>
          <p:nvPr/>
        </p:nvSpPr>
        <p:spPr>
          <a:xfrm>
            <a:off x="5352752" y="2068141"/>
            <a:ext cx="143890" cy="20217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143" name="Group 19">
            <a:extLst>
              <a:ext uri="{FF2B5EF4-FFF2-40B4-BE49-F238E27FC236}">
                <a16:creationId xmlns:a16="http://schemas.microsoft.com/office/drawing/2014/main" id="{7DC41304-8B05-07FB-13ED-CAD62D6B1057}"/>
              </a:ext>
            </a:extLst>
          </p:cNvPr>
          <p:cNvGrpSpPr/>
          <p:nvPr/>
        </p:nvGrpSpPr>
        <p:grpSpPr>
          <a:xfrm>
            <a:off x="2898209" y="2035641"/>
            <a:ext cx="284910" cy="267171"/>
            <a:chOff x="4887913" y="2105026"/>
            <a:chExt cx="273050" cy="288925"/>
          </a:xfrm>
          <a:solidFill>
            <a:schemeClr val="bg1"/>
          </a:solidFill>
        </p:grpSpPr>
        <p:sp>
          <p:nvSpPr>
            <p:cNvPr id="144" name="Freeform 468">
              <a:extLst>
                <a:ext uri="{FF2B5EF4-FFF2-40B4-BE49-F238E27FC236}">
                  <a16:creationId xmlns:a16="http://schemas.microsoft.com/office/drawing/2014/main" id="{207B73D3-7F6E-1866-6F66-03664D934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1250" y="2120901"/>
              <a:ext cx="44450" cy="44450"/>
            </a:xfrm>
            <a:custGeom>
              <a:avLst/>
              <a:gdLst>
                <a:gd name="T0" fmla="*/ 257 w 515"/>
                <a:gd name="T1" fmla="*/ 0 h 512"/>
                <a:gd name="T2" fmla="*/ 295 w 515"/>
                <a:gd name="T3" fmla="*/ 3 h 512"/>
                <a:gd name="T4" fmla="*/ 332 w 515"/>
                <a:gd name="T5" fmla="*/ 11 h 512"/>
                <a:gd name="T6" fmla="*/ 366 w 515"/>
                <a:gd name="T7" fmla="*/ 24 h 512"/>
                <a:gd name="T8" fmla="*/ 397 w 515"/>
                <a:gd name="T9" fmla="*/ 41 h 512"/>
                <a:gd name="T10" fmla="*/ 426 w 515"/>
                <a:gd name="T11" fmla="*/ 63 h 512"/>
                <a:gd name="T12" fmla="*/ 451 w 515"/>
                <a:gd name="T13" fmla="*/ 88 h 512"/>
                <a:gd name="T14" fmla="*/ 473 w 515"/>
                <a:gd name="T15" fmla="*/ 116 h 512"/>
                <a:gd name="T16" fmla="*/ 491 w 515"/>
                <a:gd name="T17" fmla="*/ 148 h 512"/>
                <a:gd name="T18" fmla="*/ 504 w 515"/>
                <a:gd name="T19" fmla="*/ 182 h 512"/>
                <a:gd name="T20" fmla="*/ 512 w 515"/>
                <a:gd name="T21" fmla="*/ 218 h 512"/>
                <a:gd name="T22" fmla="*/ 515 w 515"/>
                <a:gd name="T23" fmla="*/ 256 h 512"/>
                <a:gd name="T24" fmla="*/ 512 w 515"/>
                <a:gd name="T25" fmla="*/ 294 h 512"/>
                <a:gd name="T26" fmla="*/ 504 w 515"/>
                <a:gd name="T27" fmla="*/ 330 h 512"/>
                <a:gd name="T28" fmla="*/ 491 w 515"/>
                <a:gd name="T29" fmla="*/ 364 h 512"/>
                <a:gd name="T30" fmla="*/ 473 w 515"/>
                <a:gd name="T31" fmla="*/ 395 h 512"/>
                <a:gd name="T32" fmla="*/ 451 w 515"/>
                <a:gd name="T33" fmla="*/ 424 h 512"/>
                <a:gd name="T34" fmla="*/ 426 w 515"/>
                <a:gd name="T35" fmla="*/ 449 h 512"/>
                <a:gd name="T36" fmla="*/ 397 w 515"/>
                <a:gd name="T37" fmla="*/ 470 h 512"/>
                <a:gd name="T38" fmla="*/ 366 w 515"/>
                <a:gd name="T39" fmla="*/ 488 h 512"/>
                <a:gd name="T40" fmla="*/ 332 w 515"/>
                <a:gd name="T41" fmla="*/ 502 h 512"/>
                <a:gd name="T42" fmla="*/ 295 w 515"/>
                <a:gd name="T43" fmla="*/ 510 h 512"/>
                <a:gd name="T44" fmla="*/ 257 w 515"/>
                <a:gd name="T45" fmla="*/ 512 h 512"/>
                <a:gd name="T46" fmla="*/ 220 w 515"/>
                <a:gd name="T47" fmla="*/ 510 h 512"/>
                <a:gd name="T48" fmla="*/ 184 w 515"/>
                <a:gd name="T49" fmla="*/ 502 h 512"/>
                <a:gd name="T50" fmla="*/ 149 w 515"/>
                <a:gd name="T51" fmla="*/ 488 h 512"/>
                <a:gd name="T52" fmla="*/ 117 w 515"/>
                <a:gd name="T53" fmla="*/ 470 h 512"/>
                <a:gd name="T54" fmla="*/ 89 w 515"/>
                <a:gd name="T55" fmla="*/ 449 h 512"/>
                <a:gd name="T56" fmla="*/ 64 w 515"/>
                <a:gd name="T57" fmla="*/ 424 h 512"/>
                <a:gd name="T58" fmla="*/ 42 w 515"/>
                <a:gd name="T59" fmla="*/ 395 h 512"/>
                <a:gd name="T60" fmla="*/ 25 w 515"/>
                <a:gd name="T61" fmla="*/ 364 h 512"/>
                <a:gd name="T62" fmla="*/ 11 w 515"/>
                <a:gd name="T63" fmla="*/ 330 h 512"/>
                <a:gd name="T64" fmla="*/ 3 w 515"/>
                <a:gd name="T65" fmla="*/ 294 h 512"/>
                <a:gd name="T66" fmla="*/ 0 w 515"/>
                <a:gd name="T67" fmla="*/ 256 h 512"/>
                <a:gd name="T68" fmla="*/ 3 w 515"/>
                <a:gd name="T69" fmla="*/ 218 h 512"/>
                <a:gd name="T70" fmla="*/ 11 w 515"/>
                <a:gd name="T71" fmla="*/ 182 h 512"/>
                <a:gd name="T72" fmla="*/ 25 w 515"/>
                <a:gd name="T73" fmla="*/ 148 h 512"/>
                <a:gd name="T74" fmla="*/ 42 w 515"/>
                <a:gd name="T75" fmla="*/ 116 h 512"/>
                <a:gd name="T76" fmla="*/ 64 w 515"/>
                <a:gd name="T77" fmla="*/ 88 h 512"/>
                <a:gd name="T78" fmla="*/ 89 w 515"/>
                <a:gd name="T79" fmla="*/ 63 h 512"/>
                <a:gd name="T80" fmla="*/ 117 w 515"/>
                <a:gd name="T81" fmla="*/ 41 h 512"/>
                <a:gd name="T82" fmla="*/ 149 w 515"/>
                <a:gd name="T83" fmla="*/ 24 h 512"/>
                <a:gd name="T84" fmla="*/ 184 w 515"/>
                <a:gd name="T85" fmla="*/ 11 h 512"/>
                <a:gd name="T86" fmla="*/ 220 w 515"/>
                <a:gd name="T87" fmla="*/ 3 h 512"/>
                <a:gd name="T88" fmla="*/ 257 w 515"/>
                <a:gd name="T8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5" h="512">
                  <a:moveTo>
                    <a:pt x="257" y="0"/>
                  </a:moveTo>
                  <a:lnTo>
                    <a:pt x="295" y="3"/>
                  </a:lnTo>
                  <a:lnTo>
                    <a:pt x="332" y="11"/>
                  </a:lnTo>
                  <a:lnTo>
                    <a:pt x="366" y="24"/>
                  </a:lnTo>
                  <a:lnTo>
                    <a:pt x="397" y="41"/>
                  </a:lnTo>
                  <a:lnTo>
                    <a:pt x="426" y="63"/>
                  </a:lnTo>
                  <a:lnTo>
                    <a:pt x="451" y="88"/>
                  </a:lnTo>
                  <a:lnTo>
                    <a:pt x="473" y="116"/>
                  </a:lnTo>
                  <a:lnTo>
                    <a:pt x="491" y="148"/>
                  </a:lnTo>
                  <a:lnTo>
                    <a:pt x="504" y="182"/>
                  </a:lnTo>
                  <a:lnTo>
                    <a:pt x="512" y="218"/>
                  </a:lnTo>
                  <a:lnTo>
                    <a:pt x="515" y="256"/>
                  </a:lnTo>
                  <a:lnTo>
                    <a:pt x="512" y="294"/>
                  </a:lnTo>
                  <a:lnTo>
                    <a:pt x="504" y="330"/>
                  </a:lnTo>
                  <a:lnTo>
                    <a:pt x="491" y="364"/>
                  </a:lnTo>
                  <a:lnTo>
                    <a:pt x="473" y="395"/>
                  </a:lnTo>
                  <a:lnTo>
                    <a:pt x="451" y="424"/>
                  </a:lnTo>
                  <a:lnTo>
                    <a:pt x="426" y="449"/>
                  </a:lnTo>
                  <a:lnTo>
                    <a:pt x="397" y="470"/>
                  </a:lnTo>
                  <a:lnTo>
                    <a:pt x="366" y="488"/>
                  </a:lnTo>
                  <a:lnTo>
                    <a:pt x="332" y="502"/>
                  </a:lnTo>
                  <a:lnTo>
                    <a:pt x="295" y="510"/>
                  </a:lnTo>
                  <a:lnTo>
                    <a:pt x="257" y="512"/>
                  </a:lnTo>
                  <a:lnTo>
                    <a:pt x="220" y="510"/>
                  </a:lnTo>
                  <a:lnTo>
                    <a:pt x="184" y="502"/>
                  </a:lnTo>
                  <a:lnTo>
                    <a:pt x="149" y="488"/>
                  </a:lnTo>
                  <a:lnTo>
                    <a:pt x="117" y="470"/>
                  </a:lnTo>
                  <a:lnTo>
                    <a:pt x="89" y="449"/>
                  </a:lnTo>
                  <a:lnTo>
                    <a:pt x="64" y="424"/>
                  </a:lnTo>
                  <a:lnTo>
                    <a:pt x="42" y="395"/>
                  </a:lnTo>
                  <a:lnTo>
                    <a:pt x="25" y="364"/>
                  </a:lnTo>
                  <a:lnTo>
                    <a:pt x="11" y="330"/>
                  </a:lnTo>
                  <a:lnTo>
                    <a:pt x="3" y="294"/>
                  </a:lnTo>
                  <a:lnTo>
                    <a:pt x="0" y="256"/>
                  </a:lnTo>
                  <a:lnTo>
                    <a:pt x="3" y="218"/>
                  </a:lnTo>
                  <a:lnTo>
                    <a:pt x="11" y="182"/>
                  </a:lnTo>
                  <a:lnTo>
                    <a:pt x="25" y="148"/>
                  </a:lnTo>
                  <a:lnTo>
                    <a:pt x="42" y="116"/>
                  </a:lnTo>
                  <a:lnTo>
                    <a:pt x="64" y="88"/>
                  </a:lnTo>
                  <a:lnTo>
                    <a:pt x="89" y="63"/>
                  </a:lnTo>
                  <a:lnTo>
                    <a:pt x="117" y="41"/>
                  </a:lnTo>
                  <a:lnTo>
                    <a:pt x="149" y="24"/>
                  </a:lnTo>
                  <a:lnTo>
                    <a:pt x="184" y="11"/>
                  </a:lnTo>
                  <a:lnTo>
                    <a:pt x="220" y="3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469">
              <a:extLst>
                <a:ext uri="{FF2B5EF4-FFF2-40B4-BE49-F238E27FC236}">
                  <a16:creationId xmlns:a16="http://schemas.microsoft.com/office/drawing/2014/main" id="{4DBAC142-5460-32E2-0251-A99F9CB4B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7913" y="2171701"/>
              <a:ext cx="111125" cy="222250"/>
            </a:xfrm>
            <a:custGeom>
              <a:avLst/>
              <a:gdLst>
                <a:gd name="T0" fmla="*/ 696 w 1261"/>
                <a:gd name="T1" fmla="*/ 0 h 2520"/>
                <a:gd name="T2" fmla="*/ 708 w 1261"/>
                <a:gd name="T3" fmla="*/ 9 h 2520"/>
                <a:gd name="T4" fmla="*/ 663 w 1261"/>
                <a:gd name="T5" fmla="*/ 106 h 2520"/>
                <a:gd name="T6" fmla="*/ 720 w 1261"/>
                <a:gd name="T7" fmla="*/ 220 h 2520"/>
                <a:gd name="T8" fmla="*/ 836 w 1261"/>
                <a:gd name="T9" fmla="*/ 2 h 2520"/>
                <a:gd name="T10" fmla="*/ 1048 w 1261"/>
                <a:gd name="T11" fmla="*/ 14 h 2520"/>
                <a:gd name="T12" fmla="*/ 1154 w 1261"/>
                <a:gd name="T13" fmla="*/ 73 h 2520"/>
                <a:gd name="T14" fmla="*/ 1229 w 1261"/>
                <a:gd name="T15" fmla="*/ 170 h 2520"/>
                <a:gd name="T16" fmla="*/ 1256 w 1261"/>
                <a:gd name="T17" fmla="*/ 293 h 2520"/>
                <a:gd name="T18" fmla="*/ 1251 w 1261"/>
                <a:gd name="T19" fmla="*/ 1249 h 2520"/>
                <a:gd name="T20" fmla="*/ 1207 w 1261"/>
                <a:gd name="T21" fmla="*/ 1304 h 2520"/>
                <a:gd name="T22" fmla="*/ 1137 w 1261"/>
                <a:gd name="T23" fmla="*/ 1325 h 2520"/>
                <a:gd name="T24" fmla="*/ 1089 w 1261"/>
                <a:gd name="T25" fmla="*/ 1316 h 2520"/>
                <a:gd name="T26" fmla="*/ 1035 w 1261"/>
                <a:gd name="T27" fmla="*/ 1270 h 2520"/>
                <a:gd name="T28" fmla="*/ 1014 w 1261"/>
                <a:gd name="T29" fmla="*/ 1202 h 2520"/>
                <a:gd name="T30" fmla="*/ 1006 w 1261"/>
                <a:gd name="T31" fmla="*/ 279 h 2520"/>
                <a:gd name="T32" fmla="*/ 982 w 1261"/>
                <a:gd name="T33" fmla="*/ 263 h 2520"/>
                <a:gd name="T34" fmla="*/ 959 w 1261"/>
                <a:gd name="T35" fmla="*/ 279 h 2520"/>
                <a:gd name="T36" fmla="*/ 956 w 1261"/>
                <a:gd name="T37" fmla="*/ 2402 h 2520"/>
                <a:gd name="T38" fmla="*/ 916 w 1261"/>
                <a:gd name="T39" fmla="*/ 2477 h 2520"/>
                <a:gd name="T40" fmla="*/ 840 w 1261"/>
                <a:gd name="T41" fmla="*/ 2517 h 2520"/>
                <a:gd name="T42" fmla="*/ 753 w 1261"/>
                <a:gd name="T43" fmla="*/ 2508 h 2520"/>
                <a:gd name="T44" fmla="*/ 687 w 1261"/>
                <a:gd name="T45" fmla="*/ 2455 h 2520"/>
                <a:gd name="T46" fmla="*/ 662 w 1261"/>
                <a:gd name="T47" fmla="*/ 2371 h 2520"/>
                <a:gd name="T48" fmla="*/ 652 w 1261"/>
                <a:gd name="T49" fmla="*/ 1195 h 2520"/>
                <a:gd name="T50" fmla="*/ 617 w 1261"/>
                <a:gd name="T51" fmla="*/ 1189 h 2520"/>
                <a:gd name="T52" fmla="*/ 598 w 1261"/>
                <a:gd name="T53" fmla="*/ 1218 h 2520"/>
                <a:gd name="T54" fmla="*/ 586 w 1261"/>
                <a:gd name="T55" fmla="*/ 2430 h 2520"/>
                <a:gd name="T56" fmla="*/ 532 w 1261"/>
                <a:gd name="T57" fmla="*/ 2495 h 2520"/>
                <a:gd name="T58" fmla="*/ 449 w 1261"/>
                <a:gd name="T59" fmla="*/ 2520 h 2520"/>
                <a:gd name="T60" fmla="*/ 365 w 1261"/>
                <a:gd name="T61" fmla="*/ 2495 h 2520"/>
                <a:gd name="T62" fmla="*/ 312 w 1261"/>
                <a:gd name="T63" fmla="*/ 2430 h 2520"/>
                <a:gd name="T64" fmla="*/ 300 w 1261"/>
                <a:gd name="T65" fmla="*/ 294 h 2520"/>
                <a:gd name="T66" fmla="*/ 286 w 1261"/>
                <a:gd name="T67" fmla="*/ 272 h 2520"/>
                <a:gd name="T68" fmla="*/ 260 w 1261"/>
                <a:gd name="T69" fmla="*/ 277 h 2520"/>
                <a:gd name="T70" fmla="*/ 248 w 1261"/>
                <a:gd name="T71" fmla="*/ 1202 h 2520"/>
                <a:gd name="T72" fmla="*/ 226 w 1261"/>
                <a:gd name="T73" fmla="*/ 1270 h 2520"/>
                <a:gd name="T74" fmla="*/ 172 w 1261"/>
                <a:gd name="T75" fmla="*/ 1316 h 2520"/>
                <a:gd name="T76" fmla="*/ 123 w 1261"/>
                <a:gd name="T77" fmla="*/ 1325 h 2520"/>
                <a:gd name="T78" fmla="*/ 54 w 1261"/>
                <a:gd name="T79" fmla="*/ 1304 h 2520"/>
                <a:gd name="T80" fmla="*/ 9 w 1261"/>
                <a:gd name="T81" fmla="*/ 1249 h 2520"/>
                <a:gd name="T82" fmla="*/ 4 w 1261"/>
                <a:gd name="T83" fmla="*/ 293 h 2520"/>
                <a:gd name="T84" fmla="*/ 32 w 1261"/>
                <a:gd name="T85" fmla="*/ 170 h 2520"/>
                <a:gd name="T86" fmla="*/ 106 w 1261"/>
                <a:gd name="T87" fmla="*/ 73 h 2520"/>
                <a:gd name="T88" fmla="*/ 213 w 1261"/>
                <a:gd name="T89" fmla="*/ 14 h 2520"/>
                <a:gd name="T90" fmla="*/ 424 w 1261"/>
                <a:gd name="T91" fmla="*/ 2 h 2520"/>
                <a:gd name="T92" fmla="*/ 543 w 1261"/>
                <a:gd name="T93" fmla="*/ 220 h 2520"/>
                <a:gd name="T94" fmla="*/ 599 w 1261"/>
                <a:gd name="T95" fmla="*/ 106 h 2520"/>
                <a:gd name="T96" fmla="*/ 556 w 1261"/>
                <a:gd name="T97" fmla="*/ 9 h 2520"/>
                <a:gd name="T98" fmla="*/ 567 w 1261"/>
                <a:gd name="T99" fmla="*/ 0 h 2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61" h="2520">
                  <a:moveTo>
                    <a:pt x="571" y="0"/>
                  </a:moveTo>
                  <a:lnTo>
                    <a:pt x="692" y="0"/>
                  </a:lnTo>
                  <a:lnTo>
                    <a:pt x="696" y="0"/>
                  </a:lnTo>
                  <a:lnTo>
                    <a:pt x="702" y="2"/>
                  </a:lnTo>
                  <a:lnTo>
                    <a:pt x="705" y="5"/>
                  </a:lnTo>
                  <a:lnTo>
                    <a:pt x="708" y="9"/>
                  </a:lnTo>
                  <a:lnTo>
                    <a:pt x="711" y="17"/>
                  </a:lnTo>
                  <a:lnTo>
                    <a:pt x="708" y="26"/>
                  </a:lnTo>
                  <a:lnTo>
                    <a:pt x="663" y="106"/>
                  </a:lnTo>
                  <a:lnTo>
                    <a:pt x="714" y="197"/>
                  </a:lnTo>
                  <a:lnTo>
                    <a:pt x="718" y="208"/>
                  </a:lnTo>
                  <a:lnTo>
                    <a:pt x="720" y="220"/>
                  </a:lnTo>
                  <a:lnTo>
                    <a:pt x="719" y="232"/>
                  </a:lnTo>
                  <a:lnTo>
                    <a:pt x="682" y="402"/>
                  </a:lnTo>
                  <a:lnTo>
                    <a:pt x="836" y="2"/>
                  </a:lnTo>
                  <a:lnTo>
                    <a:pt x="963" y="2"/>
                  </a:lnTo>
                  <a:lnTo>
                    <a:pt x="1006" y="5"/>
                  </a:lnTo>
                  <a:lnTo>
                    <a:pt x="1048" y="14"/>
                  </a:lnTo>
                  <a:lnTo>
                    <a:pt x="1086" y="29"/>
                  </a:lnTo>
                  <a:lnTo>
                    <a:pt x="1122" y="49"/>
                  </a:lnTo>
                  <a:lnTo>
                    <a:pt x="1154" y="73"/>
                  </a:lnTo>
                  <a:lnTo>
                    <a:pt x="1184" y="102"/>
                  </a:lnTo>
                  <a:lnTo>
                    <a:pt x="1209" y="134"/>
                  </a:lnTo>
                  <a:lnTo>
                    <a:pt x="1229" y="170"/>
                  </a:lnTo>
                  <a:lnTo>
                    <a:pt x="1244" y="209"/>
                  </a:lnTo>
                  <a:lnTo>
                    <a:pt x="1253" y="250"/>
                  </a:lnTo>
                  <a:lnTo>
                    <a:pt x="1256" y="293"/>
                  </a:lnTo>
                  <a:lnTo>
                    <a:pt x="1261" y="1201"/>
                  </a:lnTo>
                  <a:lnTo>
                    <a:pt x="1259" y="1225"/>
                  </a:lnTo>
                  <a:lnTo>
                    <a:pt x="1251" y="1249"/>
                  </a:lnTo>
                  <a:lnTo>
                    <a:pt x="1240" y="1270"/>
                  </a:lnTo>
                  <a:lnTo>
                    <a:pt x="1225" y="1289"/>
                  </a:lnTo>
                  <a:lnTo>
                    <a:pt x="1207" y="1304"/>
                  </a:lnTo>
                  <a:lnTo>
                    <a:pt x="1186" y="1315"/>
                  </a:lnTo>
                  <a:lnTo>
                    <a:pt x="1162" y="1323"/>
                  </a:lnTo>
                  <a:lnTo>
                    <a:pt x="1137" y="1325"/>
                  </a:lnTo>
                  <a:lnTo>
                    <a:pt x="1137" y="1325"/>
                  </a:lnTo>
                  <a:lnTo>
                    <a:pt x="1112" y="1323"/>
                  </a:lnTo>
                  <a:lnTo>
                    <a:pt x="1089" y="1316"/>
                  </a:lnTo>
                  <a:lnTo>
                    <a:pt x="1068" y="1304"/>
                  </a:lnTo>
                  <a:lnTo>
                    <a:pt x="1050" y="1289"/>
                  </a:lnTo>
                  <a:lnTo>
                    <a:pt x="1035" y="1270"/>
                  </a:lnTo>
                  <a:lnTo>
                    <a:pt x="1024" y="1250"/>
                  </a:lnTo>
                  <a:lnTo>
                    <a:pt x="1016" y="1227"/>
                  </a:lnTo>
                  <a:lnTo>
                    <a:pt x="1014" y="1202"/>
                  </a:lnTo>
                  <a:lnTo>
                    <a:pt x="1008" y="294"/>
                  </a:lnTo>
                  <a:lnTo>
                    <a:pt x="1008" y="289"/>
                  </a:lnTo>
                  <a:lnTo>
                    <a:pt x="1006" y="279"/>
                  </a:lnTo>
                  <a:lnTo>
                    <a:pt x="1001" y="271"/>
                  </a:lnTo>
                  <a:lnTo>
                    <a:pt x="993" y="265"/>
                  </a:lnTo>
                  <a:lnTo>
                    <a:pt x="982" y="263"/>
                  </a:lnTo>
                  <a:lnTo>
                    <a:pt x="972" y="265"/>
                  </a:lnTo>
                  <a:lnTo>
                    <a:pt x="964" y="271"/>
                  </a:lnTo>
                  <a:lnTo>
                    <a:pt x="959" y="279"/>
                  </a:lnTo>
                  <a:lnTo>
                    <a:pt x="957" y="289"/>
                  </a:lnTo>
                  <a:lnTo>
                    <a:pt x="959" y="2371"/>
                  </a:lnTo>
                  <a:lnTo>
                    <a:pt x="956" y="2402"/>
                  </a:lnTo>
                  <a:lnTo>
                    <a:pt x="948" y="2430"/>
                  </a:lnTo>
                  <a:lnTo>
                    <a:pt x="934" y="2455"/>
                  </a:lnTo>
                  <a:lnTo>
                    <a:pt x="916" y="2477"/>
                  </a:lnTo>
                  <a:lnTo>
                    <a:pt x="894" y="2495"/>
                  </a:lnTo>
                  <a:lnTo>
                    <a:pt x="869" y="2508"/>
                  </a:lnTo>
                  <a:lnTo>
                    <a:pt x="840" y="2517"/>
                  </a:lnTo>
                  <a:lnTo>
                    <a:pt x="810" y="2520"/>
                  </a:lnTo>
                  <a:lnTo>
                    <a:pt x="781" y="2517"/>
                  </a:lnTo>
                  <a:lnTo>
                    <a:pt x="753" y="2508"/>
                  </a:lnTo>
                  <a:lnTo>
                    <a:pt x="728" y="2495"/>
                  </a:lnTo>
                  <a:lnTo>
                    <a:pt x="706" y="2477"/>
                  </a:lnTo>
                  <a:lnTo>
                    <a:pt x="687" y="2455"/>
                  </a:lnTo>
                  <a:lnTo>
                    <a:pt x="673" y="2430"/>
                  </a:lnTo>
                  <a:lnTo>
                    <a:pt x="665" y="2402"/>
                  </a:lnTo>
                  <a:lnTo>
                    <a:pt x="662" y="2371"/>
                  </a:lnTo>
                  <a:lnTo>
                    <a:pt x="662" y="1218"/>
                  </a:lnTo>
                  <a:lnTo>
                    <a:pt x="659" y="1206"/>
                  </a:lnTo>
                  <a:lnTo>
                    <a:pt x="652" y="1195"/>
                  </a:lnTo>
                  <a:lnTo>
                    <a:pt x="642" y="1189"/>
                  </a:lnTo>
                  <a:lnTo>
                    <a:pt x="630" y="1186"/>
                  </a:lnTo>
                  <a:lnTo>
                    <a:pt x="617" y="1189"/>
                  </a:lnTo>
                  <a:lnTo>
                    <a:pt x="607" y="1195"/>
                  </a:lnTo>
                  <a:lnTo>
                    <a:pt x="600" y="1206"/>
                  </a:lnTo>
                  <a:lnTo>
                    <a:pt x="598" y="1218"/>
                  </a:lnTo>
                  <a:lnTo>
                    <a:pt x="598" y="2371"/>
                  </a:lnTo>
                  <a:lnTo>
                    <a:pt x="595" y="2402"/>
                  </a:lnTo>
                  <a:lnTo>
                    <a:pt x="586" y="2430"/>
                  </a:lnTo>
                  <a:lnTo>
                    <a:pt x="573" y="2455"/>
                  </a:lnTo>
                  <a:lnTo>
                    <a:pt x="555" y="2477"/>
                  </a:lnTo>
                  <a:lnTo>
                    <a:pt x="532" y="2495"/>
                  </a:lnTo>
                  <a:lnTo>
                    <a:pt x="507" y="2508"/>
                  </a:lnTo>
                  <a:lnTo>
                    <a:pt x="479" y="2517"/>
                  </a:lnTo>
                  <a:lnTo>
                    <a:pt x="449" y="2520"/>
                  </a:lnTo>
                  <a:lnTo>
                    <a:pt x="419" y="2517"/>
                  </a:lnTo>
                  <a:lnTo>
                    <a:pt x="392" y="2508"/>
                  </a:lnTo>
                  <a:lnTo>
                    <a:pt x="365" y="2495"/>
                  </a:lnTo>
                  <a:lnTo>
                    <a:pt x="344" y="2477"/>
                  </a:lnTo>
                  <a:lnTo>
                    <a:pt x="326" y="2455"/>
                  </a:lnTo>
                  <a:lnTo>
                    <a:pt x="312" y="2430"/>
                  </a:lnTo>
                  <a:lnTo>
                    <a:pt x="303" y="2402"/>
                  </a:lnTo>
                  <a:lnTo>
                    <a:pt x="300" y="2371"/>
                  </a:lnTo>
                  <a:lnTo>
                    <a:pt x="300" y="294"/>
                  </a:lnTo>
                  <a:lnTo>
                    <a:pt x="298" y="285"/>
                  </a:lnTo>
                  <a:lnTo>
                    <a:pt x="293" y="277"/>
                  </a:lnTo>
                  <a:lnTo>
                    <a:pt x="286" y="272"/>
                  </a:lnTo>
                  <a:lnTo>
                    <a:pt x="277" y="270"/>
                  </a:lnTo>
                  <a:lnTo>
                    <a:pt x="267" y="272"/>
                  </a:lnTo>
                  <a:lnTo>
                    <a:pt x="260" y="277"/>
                  </a:lnTo>
                  <a:lnTo>
                    <a:pt x="255" y="285"/>
                  </a:lnTo>
                  <a:lnTo>
                    <a:pt x="253" y="294"/>
                  </a:lnTo>
                  <a:lnTo>
                    <a:pt x="248" y="1202"/>
                  </a:lnTo>
                  <a:lnTo>
                    <a:pt x="246" y="1226"/>
                  </a:lnTo>
                  <a:lnTo>
                    <a:pt x="238" y="1250"/>
                  </a:lnTo>
                  <a:lnTo>
                    <a:pt x="226" y="1270"/>
                  </a:lnTo>
                  <a:lnTo>
                    <a:pt x="211" y="1289"/>
                  </a:lnTo>
                  <a:lnTo>
                    <a:pt x="193" y="1304"/>
                  </a:lnTo>
                  <a:lnTo>
                    <a:pt x="172" y="1316"/>
                  </a:lnTo>
                  <a:lnTo>
                    <a:pt x="149" y="1323"/>
                  </a:lnTo>
                  <a:lnTo>
                    <a:pt x="124" y="1325"/>
                  </a:lnTo>
                  <a:lnTo>
                    <a:pt x="123" y="1325"/>
                  </a:lnTo>
                  <a:lnTo>
                    <a:pt x="99" y="1323"/>
                  </a:lnTo>
                  <a:lnTo>
                    <a:pt x="74" y="1315"/>
                  </a:lnTo>
                  <a:lnTo>
                    <a:pt x="54" y="1304"/>
                  </a:lnTo>
                  <a:lnTo>
                    <a:pt x="35" y="1289"/>
                  </a:lnTo>
                  <a:lnTo>
                    <a:pt x="21" y="1270"/>
                  </a:lnTo>
                  <a:lnTo>
                    <a:pt x="9" y="1249"/>
                  </a:lnTo>
                  <a:lnTo>
                    <a:pt x="2" y="1225"/>
                  </a:lnTo>
                  <a:lnTo>
                    <a:pt x="0" y="1201"/>
                  </a:lnTo>
                  <a:lnTo>
                    <a:pt x="4" y="293"/>
                  </a:lnTo>
                  <a:lnTo>
                    <a:pt x="8" y="250"/>
                  </a:lnTo>
                  <a:lnTo>
                    <a:pt x="17" y="209"/>
                  </a:lnTo>
                  <a:lnTo>
                    <a:pt x="32" y="170"/>
                  </a:lnTo>
                  <a:lnTo>
                    <a:pt x="52" y="134"/>
                  </a:lnTo>
                  <a:lnTo>
                    <a:pt x="77" y="102"/>
                  </a:lnTo>
                  <a:lnTo>
                    <a:pt x="106" y="73"/>
                  </a:lnTo>
                  <a:lnTo>
                    <a:pt x="139" y="49"/>
                  </a:lnTo>
                  <a:lnTo>
                    <a:pt x="175" y="29"/>
                  </a:lnTo>
                  <a:lnTo>
                    <a:pt x="213" y="14"/>
                  </a:lnTo>
                  <a:lnTo>
                    <a:pt x="255" y="5"/>
                  </a:lnTo>
                  <a:lnTo>
                    <a:pt x="298" y="2"/>
                  </a:lnTo>
                  <a:lnTo>
                    <a:pt x="424" y="2"/>
                  </a:lnTo>
                  <a:lnTo>
                    <a:pt x="576" y="402"/>
                  </a:lnTo>
                  <a:lnTo>
                    <a:pt x="543" y="232"/>
                  </a:lnTo>
                  <a:lnTo>
                    <a:pt x="543" y="220"/>
                  </a:lnTo>
                  <a:lnTo>
                    <a:pt x="544" y="208"/>
                  </a:lnTo>
                  <a:lnTo>
                    <a:pt x="550" y="197"/>
                  </a:lnTo>
                  <a:lnTo>
                    <a:pt x="599" y="106"/>
                  </a:lnTo>
                  <a:lnTo>
                    <a:pt x="555" y="26"/>
                  </a:lnTo>
                  <a:lnTo>
                    <a:pt x="553" y="17"/>
                  </a:lnTo>
                  <a:lnTo>
                    <a:pt x="556" y="9"/>
                  </a:lnTo>
                  <a:lnTo>
                    <a:pt x="559" y="5"/>
                  </a:lnTo>
                  <a:lnTo>
                    <a:pt x="562" y="2"/>
                  </a:lnTo>
                  <a:lnTo>
                    <a:pt x="567" y="0"/>
                  </a:lnTo>
                  <a:lnTo>
                    <a:pt x="5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470">
              <a:extLst>
                <a:ext uri="{FF2B5EF4-FFF2-40B4-BE49-F238E27FC236}">
                  <a16:creationId xmlns:a16="http://schemas.microsoft.com/office/drawing/2014/main" id="{163614DC-E645-2645-A4A2-4FFCD77CA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3" y="2120901"/>
              <a:ext cx="46037" cy="44450"/>
            </a:xfrm>
            <a:custGeom>
              <a:avLst/>
              <a:gdLst>
                <a:gd name="T0" fmla="*/ 256 w 513"/>
                <a:gd name="T1" fmla="*/ 0 h 512"/>
                <a:gd name="T2" fmla="*/ 294 w 513"/>
                <a:gd name="T3" fmla="*/ 3 h 512"/>
                <a:gd name="T4" fmla="*/ 331 w 513"/>
                <a:gd name="T5" fmla="*/ 11 h 512"/>
                <a:gd name="T6" fmla="*/ 365 w 513"/>
                <a:gd name="T7" fmla="*/ 24 h 512"/>
                <a:gd name="T8" fmla="*/ 396 w 513"/>
                <a:gd name="T9" fmla="*/ 41 h 512"/>
                <a:gd name="T10" fmla="*/ 425 w 513"/>
                <a:gd name="T11" fmla="*/ 63 h 512"/>
                <a:gd name="T12" fmla="*/ 450 w 513"/>
                <a:gd name="T13" fmla="*/ 88 h 512"/>
                <a:gd name="T14" fmla="*/ 472 w 513"/>
                <a:gd name="T15" fmla="*/ 116 h 512"/>
                <a:gd name="T16" fmla="*/ 490 w 513"/>
                <a:gd name="T17" fmla="*/ 148 h 512"/>
                <a:gd name="T18" fmla="*/ 503 w 513"/>
                <a:gd name="T19" fmla="*/ 182 h 512"/>
                <a:gd name="T20" fmla="*/ 511 w 513"/>
                <a:gd name="T21" fmla="*/ 218 h 512"/>
                <a:gd name="T22" fmla="*/ 513 w 513"/>
                <a:gd name="T23" fmla="*/ 256 h 512"/>
                <a:gd name="T24" fmla="*/ 511 w 513"/>
                <a:gd name="T25" fmla="*/ 294 h 512"/>
                <a:gd name="T26" fmla="*/ 503 w 513"/>
                <a:gd name="T27" fmla="*/ 330 h 512"/>
                <a:gd name="T28" fmla="*/ 490 w 513"/>
                <a:gd name="T29" fmla="*/ 364 h 512"/>
                <a:gd name="T30" fmla="*/ 472 w 513"/>
                <a:gd name="T31" fmla="*/ 395 h 512"/>
                <a:gd name="T32" fmla="*/ 450 w 513"/>
                <a:gd name="T33" fmla="*/ 424 h 512"/>
                <a:gd name="T34" fmla="*/ 425 w 513"/>
                <a:gd name="T35" fmla="*/ 449 h 512"/>
                <a:gd name="T36" fmla="*/ 396 w 513"/>
                <a:gd name="T37" fmla="*/ 470 h 512"/>
                <a:gd name="T38" fmla="*/ 365 w 513"/>
                <a:gd name="T39" fmla="*/ 488 h 512"/>
                <a:gd name="T40" fmla="*/ 331 w 513"/>
                <a:gd name="T41" fmla="*/ 502 h 512"/>
                <a:gd name="T42" fmla="*/ 294 w 513"/>
                <a:gd name="T43" fmla="*/ 510 h 512"/>
                <a:gd name="T44" fmla="*/ 256 w 513"/>
                <a:gd name="T45" fmla="*/ 512 h 512"/>
                <a:gd name="T46" fmla="*/ 219 w 513"/>
                <a:gd name="T47" fmla="*/ 510 h 512"/>
                <a:gd name="T48" fmla="*/ 183 w 513"/>
                <a:gd name="T49" fmla="*/ 502 h 512"/>
                <a:gd name="T50" fmla="*/ 149 w 513"/>
                <a:gd name="T51" fmla="*/ 488 h 512"/>
                <a:gd name="T52" fmla="*/ 116 w 513"/>
                <a:gd name="T53" fmla="*/ 470 h 512"/>
                <a:gd name="T54" fmla="*/ 88 w 513"/>
                <a:gd name="T55" fmla="*/ 449 h 512"/>
                <a:gd name="T56" fmla="*/ 63 w 513"/>
                <a:gd name="T57" fmla="*/ 424 h 512"/>
                <a:gd name="T58" fmla="*/ 41 w 513"/>
                <a:gd name="T59" fmla="*/ 395 h 512"/>
                <a:gd name="T60" fmla="*/ 24 w 513"/>
                <a:gd name="T61" fmla="*/ 364 h 512"/>
                <a:gd name="T62" fmla="*/ 11 w 513"/>
                <a:gd name="T63" fmla="*/ 330 h 512"/>
                <a:gd name="T64" fmla="*/ 3 w 513"/>
                <a:gd name="T65" fmla="*/ 294 h 512"/>
                <a:gd name="T66" fmla="*/ 0 w 513"/>
                <a:gd name="T67" fmla="*/ 256 h 512"/>
                <a:gd name="T68" fmla="*/ 3 w 513"/>
                <a:gd name="T69" fmla="*/ 218 h 512"/>
                <a:gd name="T70" fmla="*/ 11 w 513"/>
                <a:gd name="T71" fmla="*/ 182 h 512"/>
                <a:gd name="T72" fmla="*/ 24 w 513"/>
                <a:gd name="T73" fmla="*/ 148 h 512"/>
                <a:gd name="T74" fmla="*/ 41 w 513"/>
                <a:gd name="T75" fmla="*/ 116 h 512"/>
                <a:gd name="T76" fmla="*/ 63 w 513"/>
                <a:gd name="T77" fmla="*/ 88 h 512"/>
                <a:gd name="T78" fmla="*/ 88 w 513"/>
                <a:gd name="T79" fmla="*/ 63 h 512"/>
                <a:gd name="T80" fmla="*/ 116 w 513"/>
                <a:gd name="T81" fmla="*/ 41 h 512"/>
                <a:gd name="T82" fmla="*/ 149 w 513"/>
                <a:gd name="T83" fmla="*/ 24 h 512"/>
                <a:gd name="T84" fmla="*/ 183 w 513"/>
                <a:gd name="T85" fmla="*/ 11 h 512"/>
                <a:gd name="T86" fmla="*/ 219 w 513"/>
                <a:gd name="T87" fmla="*/ 3 h 512"/>
                <a:gd name="T88" fmla="*/ 256 w 513"/>
                <a:gd name="T8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3" h="512">
                  <a:moveTo>
                    <a:pt x="256" y="0"/>
                  </a:moveTo>
                  <a:lnTo>
                    <a:pt x="294" y="3"/>
                  </a:lnTo>
                  <a:lnTo>
                    <a:pt x="331" y="11"/>
                  </a:lnTo>
                  <a:lnTo>
                    <a:pt x="365" y="24"/>
                  </a:lnTo>
                  <a:lnTo>
                    <a:pt x="396" y="41"/>
                  </a:lnTo>
                  <a:lnTo>
                    <a:pt x="425" y="63"/>
                  </a:lnTo>
                  <a:lnTo>
                    <a:pt x="450" y="88"/>
                  </a:lnTo>
                  <a:lnTo>
                    <a:pt x="472" y="116"/>
                  </a:lnTo>
                  <a:lnTo>
                    <a:pt x="490" y="148"/>
                  </a:lnTo>
                  <a:lnTo>
                    <a:pt x="503" y="182"/>
                  </a:lnTo>
                  <a:lnTo>
                    <a:pt x="511" y="218"/>
                  </a:lnTo>
                  <a:lnTo>
                    <a:pt x="513" y="256"/>
                  </a:lnTo>
                  <a:lnTo>
                    <a:pt x="511" y="294"/>
                  </a:lnTo>
                  <a:lnTo>
                    <a:pt x="503" y="330"/>
                  </a:lnTo>
                  <a:lnTo>
                    <a:pt x="490" y="364"/>
                  </a:lnTo>
                  <a:lnTo>
                    <a:pt x="472" y="395"/>
                  </a:lnTo>
                  <a:lnTo>
                    <a:pt x="450" y="424"/>
                  </a:lnTo>
                  <a:lnTo>
                    <a:pt x="425" y="449"/>
                  </a:lnTo>
                  <a:lnTo>
                    <a:pt x="396" y="470"/>
                  </a:lnTo>
                  <a:lnTo>
                    <a:pt x="365" y="488"/>
                  </a:lnTo>
                  <a:lnTo>
                    <a:pt x="331" y="502"/>
                  </a:lnTo>
                  <a:lnTo>
                    <a:pt x="294" y="510"/>
                  </a:lnTo>
                  <a:lnTo>
                    <a:pt x="256" y="512"/>
                  </a:lnTo>
                  <a:lnTo>
                    <a:pt x="219" y="510"/>
                  </a:lnTo>
                  <a:lnTo>
                    <a:pt x="183" y="502"/>
                  </a:lnTo>
                  <a:lnTo>
                    <a:pt x="149" y="488"/>
                  </a:lnTo>
                  <a:lnTo>
                    <a:pt x="116" y="470"/>
                  </a:lnTo>
                  <a:lnTo>
                    <a:pt x="88" y="449"/>
                  </a:lnTo>
                  <a:lnTo>
                    <a:pt x="63" y="424"/>
                  </a:lnTo>
                  <a:lnTo>
                    <a:pt x="41" y="395"/>
                  </a:lnTo>
                  <a:lnTo>
                    <a:pt x="24" y="364"/>
                  </a:lnTo>
                  <a:lnTo>
                    <a:pt x="11" y="330"/>
                  </a:lnTo>
                  <a:lnTo>
                    <a:pt x="3" y="294"/>
                  </a:lnTo>
                  <a:lnTo>
                    <a:pt x="0" y="256"/>
                  </a:lnTo>
                  <a:lnTo>
                    <a:pt x="3" y="218"/>
                  </a:lnTo>
                  <a:lnTo>
                    <a:pt x="11" y="182"/>
                  </a:lnTo>
                  <a:lnTo>
                    <a:pt x="24" y="148"/>
                  </a:lnTo>
                  <a:lnTo>
                    <a:pt x="41" y="116"/>
                  </a:lnTo>
                  <a:lnTo>
                    <a:pt x="63" y="88"/>
                  </a:lnTo>
                  <a:lnTo>
                    <a:pt x="88" y="63"/>
                  </a:lnTo>
                  <a:lnTo>
                    <a:pt x="116" y="41"/>
                  </a:lnTo>
                  <a:lnTo>
                    <a:pt x="149" y="24"/>
                  </a:lnTo>
                  <a:lnTo>
                    <a:pt x="183" y="11"/>
                  </a:lnTo>
                  <a:lnTo>
                    <a:pt x="219" y="3"/>
                  </a:lnTo>
                  <a:lnTo>
                    <a:pt x="2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471">
              <a:extLst>
                <a:ext uri="{FF2B5EF4-FFF2-40B4-BE49-F238E27FC236}">
                  <a16:creationId xmlns:a16="http://schemas.microsoft.com/office/drawing/2014/main" id="{28C4F444-A483-313E-EFBA-DAFEB6DB0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813" y="2105026"/>
              <a:ext cx="184150" cy="288925"/>
            </a:xfrm>
            <a:custGeom>
              <a:avLst/>
              <a:gdLst>
                <a:gd name="T0" fmla="*/ 158 w 2091"/>
                <a:gd name="T1" fmla="*/ 5 h 3294"/>
                <a:gd name="T2" fmla="*/ 200 w 2091"/>
                <a:gd name="T3" fmla="*/ 26 h 3294"/>
                <a:gd name="T4" fmla="*/ 848 w 2091"/>
                <a:gd name="T5" fmla="*/ 795 h 3294"/>
                <a:gd name="T6" fmla="*/ 961 w 2091"/>
                <a:gd name="T7" fmla="*/ 1006 h 3294"/>
                <a:gd name="T8" fmla="*/ 962 w 2091"/>
                <a:gd name="T9" fmla="*/ 982 h 3294"/>
                <a:gd name="T10" fmla="*/ 1016 w 2091"/>
                <a:gd name="T11" fmla="*/ 880 h 3294"/>
                <a:gd name="T12" fmla="*/ 970 w 2091"/>
                <a:gd name="T13" fmla="*/ 791 h 3294"/>
                <a:gd name="T14" fmla="*/ 975 w 2091"/>
                <a:gd name="T15" fmla="*/ 779 h 3294"/>
                <a:gd name="T16" fmla="*/ 983 w 2091"/>
                <a:gd name="T17" fmla="*/ 774 h 3294"/>
                <a:gd name="T18" fmla="*/ 1110 w 2091"/>
                <a:gd name="T19" fmla="*/ 774 h 3294"/>
                <a:gd name="T20" fmla="*/ 1118 w 2091"/>
                <a:gd name="T21" fmla="*/ 776 h 3294"/>
                <a:gd name="T22" fmla="*/ 1125 w 2091"/>
                <a:gd name="T23" fmla="*/ 783 h 3294"/>
                <a:gd name="T24" fmla="*/ 1125 w 2091"/>
                <a:gd name="T25" fmla="*/ 800 h 3294"/>
                <a:gd name="T26" fmla="*/ 1131 w 2091"/>
                <a:gd name="T27" fmla="*/ 971 h 3294"/>
                <a:gd name="T28" fmla="*/ 1137 w 2091"/>
                <a:gd name="T29" fmla="*/ 994 h 3294"/>
                <a:gd name="T30" fmla="*/ 1100 w 2091"/>
                <a:gd name="T31" fmla="*/ 1176 h 3294"/>
                <a:gd name="T32" fmla="*/ 1873 w 2091"/>
                <a:gd name="T33" fmla="*/ 44 h 3294"/>
                <a:gd name="T34" fmla="*/ 1911 w 2091"/>
                <a:gd name="T35" fmla="*/ 13 h 3294"/>
                <a:gd name="T36" fmla="*/ 1957 w 2091"/>
                <a:gd name="T37" fmla="*/ 0 h 3294"/>
                <a:gd name="T38" fmla="*/ 2004 w 2091"/>
                <a:gd name="T39" fmla="*/ 5 h 3294"/>
                <a:gd name="T40" fmla="*/ 2048 w 2091"/>
                <a:gd name="T41" fmla="*/ 28 h 3294"/>
                <a:gd name="T42" fmla="*/ 2078 w 2091"/>
                <a:gd name="T43" fmla="*/ 67 h 3294"/>
                <a:gd name="T44" fmla="*/ 2091 w 2091"/>
                <a:gd name="T45" fmla="*/ 112 h 3294"/>
                <a:gd name="T46" fmla="*/ 2086 w 2091"/>
                <a:gd name="T47" fmla="*/ 160 h 3294"/>
                <a:gd name="T48" fmla="*/ 2063 w 2091"/>
                <a:gd name="T49" fmla="*/ 203 h 3294"/>
                <a:gd name="T50" fmla="*/ 1376 w 2091"/>
                <a:gd name="T51" fmla="*/ 3145 h 3294"/>
                <a:gd name="T52" fmla="*/ 1364 w 2091"/>
                <a:gd name="T53" fmla="*/ 3204 h 3294"/>
                <a:gd name="T54" fmla="*/ 1333 w 2091"/>
                <a:gd name="T55" fmla="*/ 3251 h 3294"/>
                <a:gd name="T56" fmla="*/ 1286 w 2091"/>
                <a:gd name="T57" fmla="*/ 3282 h 3294"/>
                <a:gd name="T58" fmla="*/ 1227 w 2091"/>
                <a:gd name="T59" fmla="*/ 3294 h 3294"/>
                <a:gd name="T60" fmla="*/ 1170 w 2091"/>
                <a:gd name="T61" fmla="*/ 3282 h 3294"/>
                <a:gd name="T62" fmla="*/ 1123 w 2091"/>
                <a:gd name="T63" fmla="*/ 3251 h 3294"/>
                <a:gd name="T64" fmla="*/ 1091 w 2091"/>
                <a:gd name="T65" fmla="*/ 3204 h 3294"/>
                <a:gd name="T66" fmla="*/ 1078 w 2091"/>
                <a:gd name="T67" fmla="*/ 3145 h 3294"/>
                <a:gd name="T68" fmla="*/ 1076 w 2091"/>
                <a:gd name="T69" fmla="*/ 1980 h 3294"/>
                <a:gd name="T70" fmla="*/ 1059 w 2091"/>
                <a:gd name="T71" fmla="*/ 1963 h 3294"/>
                <a:gd name="T72" fmla="*/ 1034 w 2091"/>
                <a:gd name="T73" fmla="*/ 1963 h 3294"/>
                <a:gd name="T74" fmla="*/ 1017 w 2091"/>
                <a:gd name="T75" fmla="*/ 1980 h 3294"/>
                <a:gd name="T76" fmla="*/ 1015 w 2091"/>
                <a:gd name="T77" fmla="*/ 3145 h 3294"/>
                <a:gd name="T78" fmla="*/ 1003 w 2091"/>
                <a:gd name="T79" fmla="*/ 3204 h 3294"/>
                <a:gd name="T80" fmla="*/ 971 w 2091"/>
                <a:gd name="T81" fmla="*/ 3251 h 3294"/>
                <a:gd name="T82" fmla="*/ 923 w 2091"/>
                <a:gd name="T83" fmla="*/ 3282 h 3294"/>
                <a:gd name="T84" fmla="*/ 866 w 2091"/>
                <a:gd name="T85" fmla="*/ 3294 h 3294"/>
                <a:gd name="T86" fmla="*/ 808 w 2091"/>
                <a:gd name="T87" fmla="*/ 3282 h 3294"/>
                <a:gd name="T88" fmla="*/ 760 w 2091"/>
                <a:gd name="T89" fmla="*/ 3251 h 3294"/>
                <a:gd name="T90" fmla="*/ 729 w 2091"/>
                <a:gd name="T91" fmla="*/ 3204 h 3294"/>
                <a:gd name="T92" fmla="*/ 717 w 2091"/>
                <a:gd name="T93" fmla="*/ 3145 h 3294"/>
                <a:gd name="T94" fmla="*/ 28 w 2091"/>
                <a:gd name="T95" fmla="*/ 203 h 3294"/>
                <a:gd name="T96" fmla="*/ 5 w 2091"/>
                <a:gd name="T97" fmla="*/ 160 h 3294"/>
                <a:gd name="T98" fmla="*/ 0 w 2091"/>
                <a:gd name="T99" fmla="*/ 112 h 3294"/>
                <a:gd name="T100" fmla="*/ 13 w 2091"/>
                <a:gd name="T101" fmla="*/ 67 h 3294"/>
                <a:gd name="T102" fmla="*/ 44 w 2091"/>
                <a:gd name="T103" fmla="*/ 28 h 3294"/>
                <a:gd name="T104" fmla="*/ 87 w 2091"/>
                <a:gd name="T105" fmla="*/ 5 h 3294"/>
                <a:gd name="T106" fmla="*/ 134 w 2091"/>
                <a:gd name="T107" fmla="*/ 0 h 3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91" h="3294">
                  <a:moveTo>
                    <a:pt x="134" y="0"/>
                  </a:moveTo>
                  <a:lnTo>
                    <a:pt x="158" y="5"/>
                  </a:lnTo>
                  <a:lnTo>
                    <a:pt x="180" y="13"/>
                  </a:lnTo>
                  <a:lnTo>
                    <a:pt x="200" y="26"/>
                  </a:lnTo>
                  <a:lnTo>
                    <a:pt x="218" y="44"/>
                  </a:lnTo>
                  <a:lnTo>
                    <a:pt x="848" y="795"/>
                  </a:lnTo>
                  <a:lnTo>
                    <a:pt x="993" y="1176"/>
                  </a:lnTo>
                  <a:lnTo>
                    <a:pt x="961" y="1006"/>
                  </a:lnTo>
                  <a:lnTo>
                    <a:pt x="960" y="994"/>
                  </a:lnTo>
                  <a:lnTo>
                    <a:pt x="962" y="982"/>
                  </a:lnTo>
                  <a:lnTo>
                    <a:pt x="967" y="971"/>
                  </a:lnTo>
                  <a:lnTo>
                    <a:pt x="1016" y="880"/>
                  </a:lnTo>
                  <a:lnTo>
                    <a:pt x="972" y="800"/>
                  </a:lnTo>
                  <a:lnTo>
                    <a:pt x="970" y="791"/>
                  </a:lnTo>
                  <a:lnTo>
                    <a:pt x="973" y="783"/>
                  </a:lnTo>
                  <a:lnTo>
                    <a:pt x="975" y="779"/>
                  </a:lnTo>
                  <a:lnTo>
                    <a:pt x="979" y="776"/>
                  </a:lnTo>
                  <a:lnTo>
                    <a:pt x="983" y="774"/>
                  </a:lnTo>
                  <a:lnTo>
                    <a:pt x="988" y="774"/>
                  </a:lnTo>
                  <a:lnTo>
                    <a:pt x="1110" y="774"/>
                  </a:lnTo>
                  <a:lnTo>
                    <a:pt x="1114" y="774"/>
                  </a:lnTo>
                  <a:lnTo>
                    <a:pt x="1118" y="776"/>
                  </a:lnTo>
                  <a:lnTo>
                    <a:pt x="1122" y="779"/>
                  </a:lnTo>
                  <a:lnTo>
                    <a:pt x="1125" y="783"/>
                  </a:lnTo>
                  <a:lnTo>
                    <a:pt x="1127" y="791"/>
                  </a:lnTo>
                  <a:lnTo>
                    <a:pt x="1125" y="800"/>
                  </a:lnTo>
                  <a:lnTo>
                    <a:pt x="1080" y="880"/>
                  </a:lnTo>
                  <a:lnTo>
                    <a:pt x="1131" y="971"/>
                  </a:lnTo>
                  <a:lnTo>
                    <a:pt x="1135" y="982"/>
                  </a:lnTo>
                  <a:lnTo>
                    <a:pt x="1137" y="994"/>
                  </a:lnTo>
                  <a:lnTo>
                    <a:pt x="1136" y="1006"/>
                  </a:lnTo>
                  <a:lnTo>
                    <a:pt x="1100" y="1176"/>
                  </a:lnTo>
                  <a:lnTo>
                    <a:pt x="1249" y="789"/>
                  </a:lnTo>
                  <a:lnTo>
                    <a:pt x="1873" y="44"/>
                  </a:lnTo>
                  <a:lnTo>
                    <a:pt x="1891" y="26"/>
                  </a:lnTo>
                  <a:lnTo>
                    <a:pt x="1911" y="13"/>
                  </a:lnTo>
                  <a:lnTo>
                    <a:pt x="1933" y="5"/>
                  </a:lnTo>
                  <a:lnTo>
                    <a:pt x="1957" y="0"/>
                  </a:lnTo>
                  <a:lnTo>
                    <a:pt x="1980" y="0"/>
                  </a:lnTo>
                  <a:lnTo>
                    <a:pt x="2004" y="5"/>
                  </a:lnTo>
                  <a:lnTo>
                    <a:pt x="2027" y="14"/>
                  </a:lnTo>
                  <a:lnTo>
                    <a:pt x="2048" y="28"/>
                  </a:lnTo>
                  <a:lnTo>
                    <a:pt x="2065" y="46"/>
                  </a:lnTo>
                  <a:lnTo>
                    <a:pt x="2078" y="67"/>
                  </a:lnTo>
                  <a:lnTo>
                    <a:pt x="2087" y="89"/>
                  </a:lnTo>
                  <a:lnTo>
                    <a:pt x="2091" y="112"/>
                  </a:lnTo>
                  <a:lnTo>
                    <a:pt x="2091" y="137"/>
                  </a:lnTo>
                  <a:lnTo>
                    <a:pt x="2086" y="160"/>
                  </a:lnTo>
                  <a:lnTo>
                    <a:pt x="2077" y="182"/>
                  </a:lnTo>
                  <a:lnTo>
                    <a:pt x="2063" y="203"/>
                  </a:lnTo>
                  <a:lnTo>
                    <a:pt x="1373" y="1024"/>
                  </a:lnTo>
                  <a:lnTo>
                    <a:pt x="1376" y="3145"/>
                  </a:lnTo>
                  <a:lnTo>
                    <a:pt x="1373" y="3176"/>
                  </a:lnTo>
                  <a:lnTo>
                    <a:pt x="1364" y="3204"/>
                  </a:lnTo>
                  <a:lnTo>
                    <a:pt x="1351" y="3229"/>
                  </a:lnTo>
                  <a:lnTo>
                    <a:pt x="1333" y="3251"/>
                  </a:lnTo>
                  <a:lnTo>
                    <a:pt x="1311" y="3269"/>
                  </a:lnTo>
                  <a:lnTo>
                    <a:pt x="1286" y="3282"/>
                  </a:lnTo>
                  <a:lnTo>
                    <a:pt x="1258" y="3291"/>
                  </a:lnTo>
                  <a:lnTo>
                    <a:pt x="1227" y="3294"/>
                  </a:lnTo>
                  <a:lnTo>
                    <a:pt x="1197" y="3291"/>
                  </a:lnTo>
                  <a:lnTo>
                    <a:pt x="1170" y="3282"/>
                  </a:lnTo>
                  <a:lnTo>
                    <a:pt x="1145" y="3269"/>
                  </a:lnTo>
                  <a:lnTo>
                    <a:pt x="1123" y="3251"/>
                  </a:lnTo>
                  <a:lnTo>
                    <a:pt x="1105" y="3229"/>
                  </a:lnTo>
                  <a:lnTo>
                    <a:pt x="1091" y="3204"/>
                  </a:lnTo>
                  <a:lnTo>
                    <a:pt x="1081" y="3176"/>
                  </a:lnTo>
                  <a:lnTo>
                    <a:pt x="1078" y="3145"/>
                  </a:lnTo>
                  <a:lnTo>
                    <a:pt x="1078" y="1992"/>
                  </a:lnTo>
                  <a:lnTo>
                    <a:pt x="1076" y="1980"/>
                  </a:lnTo>
                  <a:lnTo>
                    <a:pt x="1069" y="1969"/>
                  </a:lnTo>
                  <a:lnTo>
                    <a:pt x="1059" y="1963"/>
                  </a:lnTo>
                  <a:lnTo>
                    <a:pt x="1047" y="1960"/>
                  </a:lnTo>
                  <a:lnTo>
                    <a:pt x="1034" y="1963"/>
                  </a:lnTo>
                  <a:lnTo>
                    <a:pt x="1024" y="1969"/>
                  </a:lnTo>
                  <a:lnTo>
                    <a:pt x="1017" y="1980"/>
                  </a:lnTo>
                  <a:lnTo>
                    <a:pt x="1015" y="1992"/>
                  </a:lnTo>
                  <a:lnTo>
                    <a:pt x="1015" y="3145"/>
                  </a:lnTo>
                  <a:lnTo>
                    <a:pt x="1012" y="3176"/>
                  </a:lnTo>
                  <a:lnTo>
                    <a:pt x="1003" y="3204"/>
                  </a:lnTo>
                  <a:lnTo>
                    <a:pt x="989" y="3229"/>
                  </a:lnTo>
                  <a:lnTo>
                    <a:pt x="971" y="3251"/>
                  </a:lnTo>
                  <a:lnTo>
                    <a:pt x="950" y="3269"/>
                  </a:lnTo>
                  <a:lnTo>
                    <a:pt x="923" y="3282"/>
                  </a:lnTo>
                  <a:lnTo>
                    <a:pt x="896" y="3291"/>
                  </a:lnTo>
                  <a:lnTo>
                    <a:pt x="866" y="3294"/>
                  </a:lnTo>
                  <a:lnTo>
                    <a:pt x="836" y="3291"/>
                  </a:lnTo>
                  <a:lnTo>
                    <a:pt x="808" y="3282"/>
                  </a:lnTo>
                  <a:lnTo>
                    <a:pt x="783" y="3269"/>
                  </a:lnTo>
                  <a:lnTo>
                    <a:pt x="760" y="3251"/>
                  </a:lnTo>
                  <a:lnTo>
                    <a:pt x="742" y="3229"/>
                  </a:lnTo>
                  <a:lnTo>
                    <a:pt x="729" y="3204"/>
                  </a:lnTo>
                  <a:lnTo>
                    <a:pt x="720" y="3176"/>
                  </a:lnTo>
                  <a:lnTo>
                    <a:pt x="717" y="3145"/>
                  </a:lnTo>
                  <a:lnTo>
                    <a:pt x="717" y="1024"/>
                  </a:lnTo>
                  <a:lnTo>
                    <a:pt x="28" y="203"/>
                  </a:lnTo>
                  <a:lnTo>
                    <a:pt x="14" y="182"/>
                  </a:lnTo>
                  <a:lnTo>
                    <a:pt x="5" y="160"/>
                  </a:lnTo>
                  <a:lnTo>
                    <a:pt x="0" y="137"/>
                  </a:lnTo>
                  <a:lnTo>
                    <a:pt x="0" y="112"/>
                  </a:lnTo>
                  <a:lnTo>
                    <a:pt x="4" y="89"/>
                  </a:lnTo>
                  <a:lnTo>
                    <a:pt x="13" y="67"/>
                  </a:lnTo>
                  <a:lnTo>
                    <a:pt x="26" y="46"/>
                  </a:lnTo>
                  <a:lnTo>
                    <a:pt x="44" y="28"/>
                  </a:lnTo>
                  <a:lnTo>
                    <a:pt x="64" y="14"/>
                  </a:lnTo>
                  <a:lnTo>
                    <a:pt x="87" y="5"/>
                  </a:lnTo>
                  <a:lnTo>
                    <a:pt x="110" y="0"/>
                  </a:lnTo>
                  <a:lnTo>
                    <a:pt x="1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52" name="Verbinder: gekrümmt 151">
            <a:extLst>
              <a:ext uri="{FF2B5EF4-FFF2-40B4-BE49-F238E27FC236}">
                <a16:creationId xmlns:a16="http://schemas.microsoft.com/office/drawing/2014/main" id="{BB671475-9F03-DB17-C3A5-8B9824371D56}"/>
              </a:ext>
            </a:extLst>
          </p:cNvPr>
          <p:cNvCxnSpPr>
            <a:cxnSpLocks/>
            <a:stCxn id="104" idx="0"/>
          </p:cNvCxnSpPr>
          <p:nvPr/>
        </p:nvCxnSpPr>
        <p:spPr>
          <a:xfrm rot="5400000" flipH="1" flipV="1">
            <a:off x="1596417" y="2117533"/>
            <a:ext cx="1010224" cy="1194891"/>
          </a:xfrm>
          <a:prstGeom prst="curvedConnector2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Verbinder: gekrümmt 156">
            <a:extLst>
              <a:ext uri="{FF2B5EF4-FFF2-40B4-BE49-F238E27FC236}">
                <a16:creationId xmlns:a16="http://schemas.microsoft.com/office/drawing/2014/main" id="{AA7CA463-78B5-39B8-2EF7-1D2C9B102DB3}"/>
              </a:ext>
            </a:extLst>
          </p:cNvPr>
          <p:cNvCxnSpPr>
            <a:cxnSpLocks/>
            <a:stCxn id="104" idx="4"/>
          </p:cNvCxnSpPr>
          <p:nvPr/>
        </p:nvCxnSpPr>
        <p:spPr>
          <a:xfrm rot="16200000" flipH="1">
            <a:off x="1542008" y="4305002"/>
            <a:ext cx="1119042" cy="1194891"/>
          </a:xfrm>
          <a:prstGeom prst="curvedConnector2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Rectangle 4">
            <a:extLst>
              <a:ext uri="{FF2B5EF4-FFF2-40B4-BE49-F238E27FC236}">
                <a16:creationId xmlns:a16="http://schemas.microsoft.com/office/drawing/2014/main" id="{31F748D0-BD23-368E-A477-FD51AC41B851}"/>
              </a:ext>
            </a:extLst>
          </p:cNvPr>
          <p:cNvSpPr>
            <a:spLocks/>
          </p:cNvSpPr>
          <p:nvPr/>
        </p:nvSpPr>
        <p:spPr bwMode="auto">
          <a:xfrm>
            <a:off x="3025478" y="5222307"/>
            <a:ext cx="2117952" cy="433004"/>
          </a:xfrm>
          <a:prstGeom prst="rect">
            <a:avLst/>
          </a:prstGeom>
          <a:solidFill>
            <a:srgbClr val="ECEDF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9050" tIns="19050" rIns="19050" bIns="19050" anchor="ctr"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eaLnBrk="1"/>
            <a:endParaRPr lang="en-US" sz="1200" b="0">
              <a:solidFill>
                <a:srgbClr val="FFFFFF"/>
              </a:solidFill>
              <a:latin typeface="Helvetica Light" charset="0"/>
              <a:ea typeface="Helvetica Light" charset="0"/>
              <a:cs typeface="Helvetica Light" charset="0"/>
              <a:sym typeface="Helvetica Light" charset="0"/>
            </a:endParaRPr>
          </a:p>
        </p:txBody>
      </p:sp>
      <p:grpSp>
        <p:nvGrpSpPr>
          <p:cNvPr id="164" name="Group 4">
            <a:extLst>
              <a:ext uri="{FF2B5EF4-FFF2-40B4-BE49-F238E27FC236}">
                <a16:creationId xmlns:a16="http://schemas.microsoft.com/office/drawing/2014/main" id="{77075248-D91E-F06C-4BF5-B9DE0A5776D9}"/>
              </a:ext>
            </a:extLst>
          </p:cNvPr>
          <p:cNvGrpSpPr/>
          <p:nvPr/>
        </p:nvGrpSpPr>
        <p:grpSpPr>
          <a:xfrm>
            <a:off x="2698975" y="5122581"/>
            <a:ext cx="644313" cy="644817"/>
            <a:chOff x="4267200" y="1429257"/>
            <a:chExt cx="977929" cy="978040"/>
          </a:xfrm>
        </p:grpSpPr>
        <p:sp>
          <p:nvSpPr>
            <p:cNvPr id="165" name="AutoShape 3">
              <a:extLst>
                <a:ext uri="{FF2B5EF4-FFF2-40B4-BE49-F238E27FC236}">
                  <a16:creationId xmlns:a16="http://schemas.microsoft.com/office/drawing/2014/main" id="{4F03F05C-EE0B-230F-D51D-F3E1CCBBB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7200" y="1429257"/>
              <a:ext cx="977929" cy="978040"/>
            </a:xfrm>
            <a:custGeom>
              <a:avLst/>
              <a:gdLst>
                <a:gd name="T0" fmla="*/ 371631440 w 19679"/>
                <a:gd name="T1" fmla="*/ 355149905 h 20595"/>
                <a:gd name="T2" fmla="*/ 371631440 w 19679"/>
                <a:gd name="T3" fmla="*/ 355149905 h 20595"/>
                <a:gd name="T4" fmla="*/ 371631440 w 19679"/>
                <a:gd name="T5" fmla="*/ 355149905 h 20595"/>
                <a:gd name="T6" fmla="*/ 371631440 w 19679"/>
                <a:gd name="T7" fmla="*/ 355149905 h 2059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9" h="20595">
                  <a:moveTo>
                    <a:pt x="9839" y="0"/>
                  </a:moveTo>
                  <a:cubicBezTo>
                    <a:pt x="7321" y="0"/>
                    <a:pt x="4803" y="1005"/>
                    <a:pt x="2882" y="3015"/>
                  </a:cubicBezTo>
                  <a:cubicBezTo>
                    <a:pt x="-961" y="7037"/>
                    <a:pt x="-961" y="13557"/>
                    <a:pt x="2882" y="17579"/>
                  </a:cubicBezTo>
                  <a:cubicBezTo>
                    <a:pt x="6725" y="21600"/>
                    <a:pt x="12953" y="21600"/>
                    <a:pt x="16796" y="17579"/>
                  </a:cubicBezTo>
                  <a:cubicBezTo>
                    <a:pt x="20639" y="13557"/>
                    <a:pt x="20639" y="7037"/>
                    <a:pt x="16796" y="3015"/>
                  </a:cubicBezTo>
                  <a:cubicBezTo>
                    <a:pt x="14875" y="1005"/>
                    <a:pt x="12357" y="0"/>
                    <a:pt x="9839" y="0"/>
                  </a:cubicBezTo>
                  <a:close/>
                  <a:moveTo>
                    <a:pt x="9839" y="1267"/>
                  </a:moveTo>
                  <a:cubicBezTo>
                    <a:pt x="12047" y="1267"/>
                    <a:pt x="14256" y="2147"/>
                    <a:pt x="15941" y="3911"/>
                  </a:cubicBezTo>
                  <a:cubicBezTo>
                    <a:pt x="19310" y="7437"/>
                    <a:pt x="19310" y="13157"/>
                    <a:pt x="15941" y="16683"/>
                  </a:cubicBezTo>
                  <a:cubicBezTo>
                    <a:pt x="12571" y="20210"/>
                    <a:pt x="7107" y="20210"/>
                    <a:pt x="3737" y="16683"/>
                  </a:cubicBezTo>
                  <a:cubicBezTo>
                    <a:pt x="368" y="13157"/>
                    <a:pt x="368" y="7437"/>
                    <a:pt x="3737" y="3911"/>
                  </a:cubicBezTo>
                  <a:cubicBezTo>
                    <a:pt x="5422" y="2147"/>
                    <a:pt x="7631" y="1267"/>
                    <a:pt x="9839" y="1267"/>
                  </a:cubicBezTo>
                  <a:close/>
                </a:path>
              </a:pathLst>
            </a:custGeom>
            <a:solidFill>
              <a:srgbClr val="8094A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9050" tIns="19050" rIns="19050" bIns="19050" anchor="ctr"/>
            <a:lstStyle/>
            <a:p>
              <a:endParaRPr lang="en-US" sz="675"/>
            </a:p>
          </p:txBody>
        </p:sp>
        <p:sp>
          <p:nvSpPr>
            <p:cNvPr id="166" name="Oval 8">
              <a:extLst>
                <a:ext uri="{FF2B5EF4-FFF2-40B4-BE49-F238E27FC236}">
                  <a16:creationId xmlns:a16="http://schemas.microsoft.com/office/drawing/2014/main" id="{8FE3F2D7-11F1-5996-CFBC-8693D395A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0604" y="1580519"/>
              <a:ext cx="675513" cy="675479"/>
            </a:xfrm>
            <a:prstGeom prst="ellipse">
              <a:avLst/>
            </a:prstGeom>
            <a:solidFill>
              <a:srgbClr val="8094A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9050" tIns="19050" rIns="19050" bIns="19050" anchor="ctr"/>
            <a:lstStyle>
              <a:lvl1pPr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1pPr>
              <a:lvl2pPr marL="742950" indent="-28575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2pPr>
              <a:lvl3pPr marL="1143000" indent="-22860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3pPr>
              <a:lvl4pPr marL="1600200" indent="-22860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4pPr>
              <a:lvl5pPr marL="2057400" indent="-22860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5pPr>
              <a:lvl6pPr marL="25146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6pPr>
              <a:lvl7pPr marL="29718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7pPr>
              <a:lvl8pPr marL="34290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8pPr>
              <a:lvl9pPr marL="38862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9pPr>
            </a:lstStyle>
            <a:p>
              <a:pPr algn="ctr" eaLnBrk="1"/>
              <a:endParaRPr lang="en-US" sz="1200" b="0">
                <a:solidFill>
                  <a:srgbClr val="FFFFFF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endParaRPr>
            </a:p>
          </p:txBody>
        </p:sp>
      </p:grpSp>
      <p:sp>
        <p:nvSpPr>
          <p:cNvPr id="167" name="Rectangle 5">
            <a:extLst>
              <a:ext uri="{FF2B5EF4-FFF2-40B4-BE49-F238E27FC236}">
                <a16:creationId xmlns:a16="http://schemas.microsoft.com/office/drawing/2014/main" id="{231AC75B-6AB7-E3B6-25BC-7981C8B77931}"/>
              </a:ext>
            </a:extLst>
          </p:cNvPr>
          <p:cNvSpPr>
            <a:spLocks/>
          </p:cNvSpPr>
          <p:nvPr/>
        </p:nvSpPr>
        <p:spPr bwMode="auto">
          <a:xfrm>
            <a:off x="5199644" y="5202171"/>
            <a:ext cx="438912" cy="439424"/>
          </a:xfrm>
          <a:prstGeom prst="rect">
            <a:avLst/>
          </a:prstGeom>
          <a:solidFill>
            <a:srgbClr val="8094AF"/>
          </a:solidFill>
          <a:ln>
            <a:noFill/>
          </a:ln>
          <a:effectLst/>
        </p:spPr>
        <p:txBody>
          <a:bodyPr lIns="19050" tIns="19050" rIns="19050" bIns="19050" anchor="ctr"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eaLnBrk="1"/>
            <a:endParaRPr lang="en-US" sz="1200" b="0">
              <a:solidFill>
                <a:srgbClr val="FFFFFF"/>
              </a:solidFill>
              <a:latin typeface="Helvetica Light" charset="0"/>
              <a:ea typeface="Helvetica Light" charset="0"/>
              <a:cs typeface="Helvetica Light" charset="0"/>
              <a:sym typeface="Helvetica Light" charset="0"/>
            </a:endParaRPr>
          </a:p>
        </p:txBody>
      </p:sp>
      <p:sp>
        <p:nvSpPr>
          <p:cNvPr id="168" name="Rectangle 29">
            <a:extLst>
              <a:ext uri="{FF2B5EF4-FFF2-40B4-BE49-F238E27FC236}">
                <a16:creationId xmlns:a16="http://schemas.microsoft.com/office/drawing/2014/main" id="{88843BB5-122D-D7CC-0B2B-6D58593EBC93}"/>
              </a:ext>
            </a:extLst>
          </p:cNvPr>
          <p:cNvSpPr/>
          <p:nvPr/>
        </p:nvSpPr>
        <p:spPr>
          <a:xfrm>
            <a:off x="3447880" y="5289225"/>
            <a:ext cx="1565300" cy="29335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b="1" err="1">
                <a:solidFill>
                  <a:srgbClr val="575757"/>
                </a:solidFill>
              </a:rPr>
              <a:t>Materialressourcen</a:t>
            </a:r>
            <a:endParaRPr lang="en-US" sz="1200" b="1">
              <a:solidFill>
                <a:srgbClr val="575757"/>
              </a:solidFill>
            </a:endParaRPr>
          </a:p>
        </p:txBody>
      </p:sp>
      <p:sp>
        <p:nvSpPr>
          <p:cNvPr id="169" name="Chevron 13">
            <a:extLst>
              <a:ext uri="{FF2B5EF4-FFF2-40B4-BE49-F238E27FC236}">
                <a16:creationId xmlns:a16="http://schemas.microsoft.com/office/drawing/2014/main" id="{BE765B26-E01F-7388-43C9-A0833BC75B22}"/>
              </a:ext>
            </a:extLst>
          </p:cNvPr>
          <p:cNvSpPr/>
          <p:nvPr/>
        </p:nvSpPr>
        <p:spPr>
          <a:xfrm>
            <a:off x="5352752" y="5317587"/>
            <a:ext cx="143890" cy="20217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0" name="Rectangle 4">
            <a:extLst>
              <a:ext uri="{FF2B5EF4-FFF2-40B4-BE49-F238E27FC236}">
                <a16:creationId xmlns:a16="http://schemas.microsoft.com/office/drawing/2014/main" id="{9B6E0A34-DF65-50D6-4F03-8B5391C6E42B}"/>
              </a:ext>
            </a:extLst>
          </p:cNvPr>
          <p:cNvSpPr>
            <a:spLocks/>
          </p:cNvSpPr>
          <p:nvPr/>
        </p:nvSpPr>
        <p:spPr bwMode="auto">
          <a:xfrm>
            <a:off x="3025477" y="2946715"/>
            <a:ext cx="2122007" cy="433004"/>
          </a:xfrm>
          <a:prstGeom prst="rect">
            <a:avLst/>
          </a:prstGeom>
          <a:solidFill>
            <a:srgbClr val="ECEDF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9050" tIns="19050" rIns="19050" bIns="19050" anchor="ctr"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eaLnBrk="1"/>
            <a:endParaRPr lang="en-US" sz="1200" b="0">
              <a:solidFill>
                <a:srgbClr val="FFFFFF"/>
              </a:solidFill>
              <a:latin typeface="Helvetica Light" charset="0"/>
              <a:ea typeface="Helvetica Light" charset="0"/>
              <a:cs typeface="Helvetica Light" charset="0"/>
              <a:sym typeface="Helvetica Light" charset="0"/>
            </a:endParaRPr>
          </a:p>
        </p:txBody>
      </p:sp>
      <p:grpSp>
        <p:nvGrpSpPr>
          <p:cNvPr id="191" name="Group 4">
            <a:extLst>
              <a:ext uri="{FF2B5EF4-FFF2-40B4-BE49-F238E27FC236}">
                <a16:creationId xmlns:a16="http://schemas.microsoft.com/office/drawing/2014/main" id="{A8039684-28D9-989D-53B2-7F366D36EF89}"/>
              </a:ext>
            </a:extLst>
          </p:cNvPr>
          <p:cNvGrpSpPr/>
          <p:nvPr/>
        </p:nvGrpSpPr>
        <p:grpSpPr>
          <a:xfrm>
            <a:off x="2698975" y="2846989"/>
            <a:ext cx="644313" cy="644817"/>
            <a:chOff x="4267200" y="1429257"/>
            <a:chExt cx="977929" cy="978040"/>
          </a:xfrm>
        </p:grpSpPr>
        <p:sp>
          <p:nvSpPr>
            <p:cNvPr id="192" name="AutoShape 3">
              <a:extLst>
                <a:ext uri="{FF2B5EF4-FFF2-40B4-BE49-F238E27FC236}">
                  <a16:creationId xmlns:a16="http://schemas.microsoft.com/office/drawing/2014/main" id="{1465CA65-CF65-874C-0F71-8A0D381487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7200" y="1429257"/>
              <a:ext cx="977929" cy="978040"/>
            </a:xfrm>
            <a:custGeom>
              <a:avLst/>
              <a:gdLst>
                <a:gd name="T0" fmla="*/ 371631440 w 19679"/>
                <a:gd name="T1" fmla="*/ 355149905 h 20595"/>
                <a:gd name="T2" fmla="*/ 371631440 w 19679"/>
                <a:gd name="T3" fmla="*/ 355149905 h 20595"/>
                <a:gd name="T4" fmla="*/ 371631440 w 19679"/>
                <a:gd name="T5" fmla="*/ 355149905 h 20595"/>
                <a:gd name="T6" fmla="*/ 371631440 w 19679"/>
                <a:gd name="T7" fmla="*/ 355149905 h 2059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9" h="20595">
                  <a:moveTo>
                    <a:pt x="9839" y="0"/>
                  </a:moveTo>
                  <a:cubicBezTo>
                    <a:pt x="7321" y="0"/>
                    <a:pt x="4803" y="1005"/>
                    <a:pt x="2882" y="3015"/>
                  </a:cubicBezTo>
                  <a:cubicBezTo>
                    <a:pt x="-961" y="7037"/>
                    <a:pt x="-961" y="13557"/>
                    <a:pt x="2882" y="17579"/>
                  </a:cubicBezTo>
                  <a:cubicBezTo>
                    <a:pt x="6725" y="21600"/>
                    <a:pt x="12953" y="21600"/>
                    <a:pt x="16796" y="17579"/>
                  </a:cubicBezTo>
                  <a:cubicBezTo>
                    <a:pt x="20639" y="13557"/>
                    <a:pt x="20639" y="7037"/>
                    <a:pt x="16796" y="3015"/>
                  </a:cubicBezTo>
                  <a:cubicBezTo>
                    <a:pt x="14875" y="1005"/>
                    <a:pt x="12357" y="0"/>
                    <a:pt x="9839" y="0"/>
                  </a:cubicBezTo>
                  <a:close/>
                  <a:moveTo>
                    <a:pt x="9839" y="1267"/>
                  </a:moveTo>
                  <a:cubicBezTo>
                    <a:pt x="12047" y="1267"/>
                    <a:pt x="14256" y="2147"/>
                    <a:pt x="15941" y="3911"/>
                  </a:cubicBezTo>
                  <a:cubicBezTo>
                    <a:pt x="19310" y="7437"/>
                    <a:pt x="19310" y="13157"/>
                    <a:pt x="15941" y="16683"/>
                  </a:cubicBezTo>
                  <a:cubicBezTo>
                    <a:pt x="12571" y="20210"/>
                    <a:pt x="7107" y="20210"/>
                    <a:pt x="3737" y="16683"/>
                  </a:cubicBezTo>
                  <a:cubicBezTo>
                    <a:pt x="368" y="13157"/>
                    <a:pt x="368" y="7437"/>
                    <a:pt x="3737" y="3911"/>
                  </a:cubicBezTo>
                  <a:cubicBezTo>
                    <a:pt x="5422" y="2147"/>
                    <a:pt x="7631" y="1267"/>
                    <a:pt x="9839" y="1267"/>
                  </a:cubicBezTo>
                  <a:close/>
                </a:path>
              </a:pathLst>
            </a:custGeom>
            <a:solidFill>
              <a:srgbClr val="6C955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9050" tIns="19050" rIns="19050" bIns="19050" anchor="ctr"/>
            <a:lstStyle/>
            <a:p>
              <a:endParaRPr lang="en-US" sz="675"/>
            </a:p>
          </p:txBody>
        </p:sp>
        <p:sp>
          <p:nvSpPr>
            <p:cNvPr id="193" name="Oval 8">
              <a:extLst>
                <a:ext uri="{FF2B5EF4-FFF2-40B4-BE49-F238E27FC236}">
                  <a16:creationId xmlns:a16="http://schemas.microsoft.com/office/drawing/2014/main" id="{C007CEE5-E568-0436-DC35-9CDFC0FBA7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0604" y="1580519"/>
              <a:ext cx="675513" cy="675479"/>
            </a:xfrm>
            <a:prstGeom prst="ellipse">
              <a:avLst/>
            </a:prstGeom>
            <a:solidFill>
              <a:srgbClr val="6C955E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9050" tIns="19050" rIns="19050" bIns="19050" anchor="ctr"/>
            <a:lstStyle>
              <a:lvl1pPr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1pPr>
              <a:lvl2pPr marL="742950" indent="-28575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2pPr>
              <a:lvl3pPr marL="1143000" indent="-22860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3pPr>
              <a:lvl4pPr marL="1600200" indent="-22860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4pPr>
              <a:lvl5pPr marL="2057400" indent="-22860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5pPr>
              <a:lvl6pPr marL="25146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6pPr>
              <a:lvl7pPr marL="29718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7pPr>
              <a:lvl8pPr marL="34290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8pPr>
              <a:lvl9pPr marL="38862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9pPr>
            </a:lstStyle>
            <a:p>
              <a:pPr algn="ctr" eaLnBrk="1"/>
              <a:endParaRPr lang="en-US" sz="1200" b="0">
                <a:solidFill>
                  <a:srgbClr val="FFFFFF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endParaRPr>
            </a:p>
          </p:txBody>
        </p:sp>
      </p:grpSp>
      <p:sp>
        <p:nvSpPr>
          <p:cNvPr id="194" name="Rectangle 29">
            <a:extLst>
              <a:ext uri="{FF2B5EF4-FFF2-40B4-BE49-F238E27FC236}">
                <a16:creationId xmlns:a16="http://schemas.microsoft.com/office/drawing/2014/main" id="{9FE09A25-1175-999E-5E04-C5D201845258}"/>
              </a:ext>
            </a:extLst>
          </p:cNvPr>
          <p:cNvSpPr/>
          <p:nvPr/>
        </p:nvSpPr>
        <p:spPr>
          <a:xfrm>
            <a:off x="3366640" y="2996904"/>
            <a:ext cx="1806924" cy="29335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b="1" err="1">
                <a:solidFill>
                  <a:srgbClr val="575757"/>
                </a:solidFill>
              </a:rPr>
              <a:t>Energieeinsparung</a:t>
            </a:r>
            <a:endParaRPr lang="en-US" sz="1200" b="1">
              <a:solidFill>
                <a:srgbClr val="575757"/>
              </a:solidFill>
            </a:endParaRPr>
          </a:p>
        </p:txBody>
      </p:sp>
      <p:sp>
        <p:nvSpPr>
          <p:cNvPr id="200" name="Rectangle 4">
            <a:extLst>
              <a:ext uri="{FF2B5EF4-FFF2-40B4-BE49-F238E27FC236}">
                <a16:creationId xmlns:a16="http://schemas.microsoft.com/office/drawing/2014/main" id="{C5DC6B33-7AAC-FECD-A000-3EE86D7B129E}"/>
              </a:ext>
            </a:extLst>
          </p:cNvPr>
          <p:cNvSpPr>
            <a:spLocks/>
          </p:cNvSpPr>
          <p:nvPr/>
        </p:nvSpPr>
        <p:spPr bwMode="auto">
          <a:xfrm>
            <a:off x="3025477" y="4122913"/>
            <a:ext cx="2122006" cy="433004"/>
          </a:xfrm>
          <a:prstGeom prst="rect">
            <a:avLst/>
          </a:prstGeom>
          <a:solidFill>
            <a:srgbClr val="ECEDF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19050" tIns="19050" rIns="19050" bIns="19050" anchor="ctr"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eaLnBrk="1"/>
            <a:endParaRPr lang="en-US" sz="1200" b="0">
              <a:solidFill>
                <a:srgbClr val="FFFFFF"/>
              </a:solidFill>
              <a:latin typeface="Helvetica Light" charset="0"/>
              <a:ea typeface="Helvetica Light" charset="0"/>
              <a:cs typeface="Helvetica Light" charset="0"/>
              <a:sym typeface="Helvetica Light" charset="0"/>
            </a:endParaRPr>
          </a:p>
        </p:txBody>
      </p:sp>
      <p:grpSp>
        <p:nvGrpSpPr>
          <p:cNvPr id="201" name="Group 4">
            <a:extLst>
              <a:ext uri="{FF2B5EF4-FFF2-40B4-BE49-F238E27FC236}">
                <a16:creationId xmlns:a16="http://schemas.microsoft.com/office/drawing/2014/main" id="{B0AEC909-3467-96C4-C0EA-8E9D9B40898C}"/>
              </a:ext>
            </a:extLst>
          </p:cNvPr>
          <p:cNvGrpSpPr/>
          <p:nvPr/>
        </p:nvGrpSpPr>
        <p:grpSpPr>
          <a:xfrm>
            <a:off x="2698975" y="4023187"/>
            <a:ext cx="644313" cy="644817"/>
            <a:chOff x="4267200" y="1429257"/>
            <a:chExt cx="977929" cy="978040"/>
          </a:xfrm>
        </p:grpSpPr>
        <p:sp>
          <p:nvSpPr>
            <p:cNvPr id="202" name="AutoShape 3">
              <a:extLst>
                <a:ext uri="{FF2B5EF4-FFF2-40B4-BE49-F238E27FC236}">
                  <a16:creationId xmlns:a16="http://schemas.microsoft.com/office/drawing/2014/main" id="{2597BB04-8D23-5714-0FCD-5D29B1DAA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7200" y="1429257"/>
              <a:ext cx="977929" cy="978040"/>
            </a:xfrm>
            <a:custGeom>
              <a:avLst/>
              <a:gdLst>
                <a:gd name="T0" fmla="*/ 371631440 w 19679"/>
                <a:gd name="T1" fmla="*/ 355149905 h 20595"/>
                <a:gd name="T2" fmla="*/ 371631440 w 19679"/>
                <a:gd name="T3" fmla="*/ 355149905 h 20595"/>
                <a:gd name="T4" fmla="*/ 371631440 w 19679"/>
                <a:gd name="T5" fmla="*/ 355149905 h 20595"/>
                <a:gd name="T6" fmla="*/ 371631440 w 19679"/>
                <a:gd name="T7" fmla="*/ 355149905 h 2059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9" h="20595">
                  <a:moveTo>
                    <a:pt x="9839" y="0"/>
                  </a:moveTo>
                  <a:cubicBezTo>
                    <a:pt x="7321" y="0"/>
                    <a:pt x="4803" y="1005"/>
                    <a:pt x="2882" y="3015"/>
                  </a:cubicBezTo>
                  <a:cubicBezTo>
                    <a:pt x="-961" y="7037"/>
                    <a:pt x="-961" y="13557"/>
                    <a:pt x="2882" y="17579"/>
                  </a:cubicBezTo>
                  <a:cubicBezTo>
                    <a:pt x="6725" y="21600"/>
                    <a:pt x="12953" y="21600"/>
                    <a:pt x="16796" y="17579"/>
                  </a:cubicBezTo>
                  <a:cubicBezTo>
                    <a:pt x="20639" y="13557"/>
                    <a:pt x="20639" y="7037"/>
                    <a:pt x="16796" y="3015"/>
                  </a:cubicBezTo>
                  <a:cubicBezTo>
                    <a:pt x="14875" y="1005"/>
                    <a:pt x="12357" y="0"/>
                    <a:pt x="9839" y="0"/>
                  </a:cubicBezTo>
                  <a:close/>
                  <a:moveTo>
                    <a:pt x="9839" y="1267"/>
                  </a:moveTo>
                  <a:cubicBezTo>
                    <a:pt x="12047" y="1267"/>
                    <a:pt x="14256" y="2147"/>
                    <a:pt x="15941" y="3911"/>
                  </a:cubicBezTo>
                  <a:cubicBezTo>
                    <a:pt x="19310" y="7437"/>
                    <a:pt x="19310" y="13157"/>
                    <a:pt x="15941" y="16683"/>
                  </a:cubicBezTo>
                  <a:cubicBezTo>
                    <a:pt x="12571" y="20210"/>
                    <a:pt x="7107" y="20210"/>
                    <a:pt x="3737" y="16683"/>
                  </a:cubicBezTo>
                  <a:cubicBezTo>
                    <a:pt x="368" y="13157"/>
                    <a:pt x="368" y="7437"/>
                    <a:pt x="3737" y="3911"/>
                  </a:cubicBezTo>
                  <a:cubicBezTo>
                    <a:pt x="5422" y="2147"/>
                    <a:pt x="7631" y="1267"/>
                    <a:pt x="9839" y="1267"/>
                  </a:cubicBezTo>
                  <a:close/>
                </a:path>
              </a:pathLst>
            </a:custGeom>
            <a:solidFill>
              <a:srgbClr val="28517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9050" tIns="19050" rIns="19050" bIns="19050" anchor="ctr"/>
            <a:lstStyle/>
            <a:p>
              <a:endParaRPr lang="en-US" sz="675"/>
            </a:p>
          </p:txBody>
        </p:sp>
        <p:sp>
          <p:nvSpPr>
            <p:cNvPr id="203" name="Oval 8">
              <a:extLst>
                <a:ext uri="{FF2B5EF4-FFF2-40B4-BE49-F238E27FC236}">
                  <a16:creationId xmlns:a16="http://schemas.microsoft.com/office/drawing/2014/main" id="{A5A7D077-9A43-1E2F-442C-174941A7C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0604" y="1580519"/>
              <a:ext cx="675513" cy="675479"/>
            </a:xfrm>
            <a:prstGeom prst="ellipse">
              <a:avLst/>
            </a:prstGeom>
            <a:solidFill>
              <a:srgbClr val="28517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19050" tIns="19050" rIns="19050" bIns="19050" anchor="ctr"/>
            <a:lstStyle>
              <a:lvl1pPr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1pPr>
              <a:lvl2pPr marL="742950" indent="-28575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2pPr>
              <a:lvl3pPr marL="1143000" indent="-22860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3pPr>
              <a:lvl4pPr marL="1600200" indent="-22860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4pPr>
              <a:lvl5pPr marL="2057400" indent="-228600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5pPr>
              <a:lvl6pPr marL="25146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6pPr>
              <a:lvl7pPr marL="29718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7pPr>
              <a:lvl8pPr marL="34290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8pPr>
              <a:lvl9pPr marL="3886200" indent="-2286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9pPr>
            </a:lstStyle>
            <a:p>
              <a:pPr algn="ctr" eaLnBrk="1"/>
              <a:endParaRPr lang="en-US" sz="1200" b="0">
                <a:solidFill>
                  <a:srgbClr val="FFFFFF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endParaRPr>
            </a:p>
          </p:txBody>
        </p:sp>
      </p:grpSp>
      <p:sp>
        <p:nvSpPr>
          <p:cNvPr id="204" name="Rectangle 29">
            <a:extLst>
              <a:ext uri="{FF2B5EF4-FFF2-40B4-BE49-F238E27FC236}">
                <a16:creationId xmlns:a16="http://schemas.microsoft.com/office/drawing/2014/main" id="{46CC40DF-AB0F-C1EA-9E12-90D24B70CFFA}"/>
              </a:ext>
            </a:extLst>
          </p:cNvPr>
          <p:cNvSpPr/>
          <p:nvPr/>
        </p:nvSpPr>
        <p:spPr>
          <a:xfrm>
            <a:off x="3412609" y="4181780"/>
            <a:ext cx="1690014" cy="29335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b="1" err="1">
                <a:solidFill>
                  <a:srgbClr val="575757"/>
                </a:solidFill>
              </a:rPr>
              <a:t>Flächenproduktivität</a:t>
            </a:r>
            <a:endParaRPr lang="en-US" sz="1200" b="1">
              <a:solidFill>
                <a:srgbClr val="575757"/>
              </a:solidFill>
            </a:endParaRPr>
          </a:p>
        </p:txBody>
      </p:sp>
      <p:sp>
        <p:nvSpPr>
          <p:cNvPr id="217" name="Rectangle 5">
            <a:extLst>
              <a:ext uri="{FF2B5EF4-FFF2-40B4-BE49-F238E27FC236}">
                <a16:creationId xmlns:a16="http://schemas.microsoft.com/office/drawing/2014/main" id="{E9C62E6C-2A26-2145-9BF9-1C34776BD7FA}"/>
              </a:ext>
            </a:extLst>
          </p:cNvPr>
          <p:cNvSpPr>
            <a:spLocks/>
          </p:cNvSpPr>
          <p:nvPr/>
        </p:nvSpPr>
        <p:spPr bwMode="auto">
          <a:xfrm>
            <a:off x="5199644" y="2950493"/>
            <a:ext cx="438912" cy="439424"/>
          </a:xfrm>
          <a:prstGeom prst="rect">
            <a:avLst/>
          </a:prstGeom>
          <a:solidFill>
            <a:srgbClr val="6C955E"/>
          </a:solidFill>
          <a:ln>
            <a:noFill/>
          </a:ln>
          <a:effectLst/>
        </p:spPr>
        <p:txBody>
          <a:bodyPr lIns="19050" tIns="19050" rIns="19050" bIns="19050" anchor="ctr"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eaLnBrk="1"/>
            <a:endParaRPr lang="en-US" sz="1200" b="0">
              <a:solidFill>
                <a:srgbClr val="FFFFFF"/>
              </a:solidFill>
              <a:latin typeface="Helvetica Light" charset="0"/>
              <a:ea typeface="Helvetica Light" charset="0"/>
              <a:cs typeface="Helvetica Light" charset="0"/>
              <a:sym typeface="Helvetica Light" charset="0"/>
            </a:endParaRPr>
          </a:p>
        </p:txBody>
      </p:sp>
      <p:sp>
        <p:nvSpPr>
          <p:cNvPr id="218" name="Chevron 13">
            <a:extLst>
              <a:ext uri="{FF2B5EF4-FFF2-40B4-BE49-F238E27FC236}">
                <a16:creationId xmlns:a16="http://schemas.microsoft.com/office/drawing/2014/main" id="{2AB5FE4A-816B-E64B-CA0A-CF645DD3FBEB}"/>
              </a:ext>
            </a:extLst>
          </p:cNvPr>
          <p:cNvSpPr/>
          <p:nvPr/>
        </p:nvSpPr>
        <p:spPr>
          <a:xfrm>
            <a:off x="5352752" y="3065909"/>
            <a:ext cx="143890" cy="20217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9" name="Rectangle 5">
            <a:extLst>
              <a:ext uri="{FF2B5EF4-FFF2-40B4-BE49-F238E27FC236}">
                <a16:creationId xmlns:a16="http://schemas.microsoft.com/office/drawing/2014/main" id="{F441A588-2FEB-B90B-0745-EB4C6517C064}"/>
              </a:ext>
            </a:extLst>
          </p:cNvPr>
          <p:cNvSpPr>
            <a:spLocks/>
          </p:cNvSpPr>
          <p:nvPr/>
        </p:nvSpPr>
        <p:spPr bwMode="auto">
          <a:xfrm>
            <a:off x="5199644" y="4117774"/>
            <a:ext cx="438912" cy="439424"/>
          </a:xfrm>
          <a:prstGeom prst="rect">
            <a:avLst/>
          </a:prstGeom>
          <a:solidFill>
            <a:srgbClr val="285172"/>
          </a:solidFill>
          <a:ln>
            <a:noFill/>
          </a:ln>
          <a:effectLst/>
        </p:spPr>
        <p:txBody>
          <a:bodyPr lIns="19050" tIns="19050" rIns="19050" bIns="19050" anchor="ctr"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eaLnBrk="1"/>
            <a:endParaRPr lang="en-US" sz="1200" b="0">
              <a:solidFill>
                <a:srgbClr val="FFFFFF"/>
              </a:solidFill>
              <a:latin typeface="Helvetica Light" charset="0"/>
              <a:ea typeface="Helvetica Light" charset="0"/>
              <a:cs typeface="Helvetica Light" charset="0"/>
              <a:sym typeface="Helvetica Light" charset="0"/>
            </a:endParaRPr>
          </a:p>
        </p:txBody>
      </p:sp>
      <p:sp>
        <p:nvSpPr>
          <p:cNvPr id="220" name="Chevron 13">
            <a:extLst>
              <a:ext uri="{FF2B5EF4-FFF2-40B4-BE49-F238E27FC236}">
                <a16:creationId xmlns:a16="http://schemas.microsoft.com/office/drawing/2014/main" id="{D16CEFD1-273B-6622-AF66-7034AF4B7CE2}"/>
              </a:ext>
            </a:extLst>
          </p:cNvPr>
          <p:cNvSpPr/>
          <p:nvPr/>
        </p:nvSpPr>
        <p:spPr>
          <a:xfrm>
            <a:off x="5352752" y="4233190"/>
            <a:ext cx="143890" cy="20217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7" name="Freeform 126">
            <a:extLst>
              <a:ext uri="{FF2B5EF4-FFF2-40B4-BE49-F238E27FC236}">
                <a16:creationId xmlns:a16="http://schemas.microsoft.com/office/drawing/2014/main" id="{47DB3AEC-82A9-EFF8-13EE-AAF157C3E34C}"/>
              </a:ext>
            </a:extLst>
          </p:cNvPr>
          <p:cNvSpPr>
            <a:spLocks/>
          </p:cNvSpPr>
          <p:nvPr/>
        </p:nvSpPr>
        <p:spPr bwMode="auto">
          <a:xfrm>
            <a:off x="2932993" y="3000452"/>
            <a:ext cx="213823" cy="329179"/>
          </a:xfrm>
          <a:custGeom>
            <a:avLst/>
            <a:gdLst/>
            <a:ahLst/>
            <a:cxnLst>
              <a:cxn ang="0">
                <a:pos x="25" y="46"/>
              </a:cxn>
              <a:cxn ang="0">
                <a:pos x="1" y="64"/>
              </a:cxn>
              <a:cxn ang="0">
                <a:pos x="0" y="62"/>
              </a:cxn>
              <a:cxn ang="0">
                <a:pos x="1" y="61"/>
              </a:cxn>
              <a:cxn ang="0">
                <a:pos x="22" y="46"/>
              </a:cxn>
              <a:cxn ang="0">
                <a:pos x="1" y="36"/>
              </a:cxn>
              <a:cxn ang="0">
                <a:pos x="24" y="41"/>
              </a:cxn>
              <a:cxn ang="0">
                <a:pos x="27" y="31"/>
              </a:cxn>
              <a:cxn ang="0">
                <a:pos x="7" y="18"/>
              </a:cxn>
              <a:cxn ang="0">
                <a:pos x="27" y="28"/>
              </a:cxn>
              <a:cxn ang="0">
                <a:pos x="28" y="21"/>
              </a:cxn>
              <a:cxn ang="0">
                <a:pos x="23" y="0"/>
              </a:cxn>
              <a:cxn ang="0">
                <a:pos x="31" y="21"/>
              </a:cxn>
              <a:cxn ang="0">
                <a:pos x="31" y="25"/>
              </a:cxn>
              <a:cxn ang="0">
                <a:pos x="48" y="18"/>
              </a:cxn>
              <a:cxn ang="0">
                <a:pos x="30" y="32"/>
              </a:cxn>
              <a:cxn ang="0">
                <a:pos x="27" y="42"/>
              </a:cxn>
              <a:cxn ang="0">
                <a:pos x="50" y="39"/>
              </a:cxn>
              <a:cxn ang="0">
                <a:pos x="25" y="46"/>
              </a:cxn>
            </a:cxnLst>
            <a:rect l="0" t="0" r="r" b="b"/>
            <a:pathLst>
              <a:path w="50" h="64">
                <a:moveTo>
                  <a:pt x="25" y="46"/>
                </a:moveTo>
                <a:cubicBezTo>
                  <a:pt x="20" y="57"/>
                  <a:pt x="11" y="64"/>
                  <a:pt x="1" y="64"/>
                </a:cubicBezTo>
                <a:cubicBezTo>
                  <a:pt x="0" y="64"/>
                  <a:pt x="0" y="63"/>
                  <a:pt x="0" y="62"/>
                </a:cubicBezTo>
                <a:cubicBezTo>
                  <a:pt x="0" y="61"/>
                  <a:pt x="0" y="61"/>
                  <a:pt x="1" y="61"/>
                </a:cubicBezTo>
                <a:cubicBezTo>
                  <a:pt x="10" y="61"/>
                  <a:pt x="17" y="55"/>
                  <a:pt x="22" y="46"/>
                </a:cubicBezTo>
                <a:cubicBezTo>
                  <a:pt x="17" y="48"/>
                  <a:pt x="6" y="50"/>
                  <a:pt x="1" y="36"/>
                </a:cubicBezTo>
                <a:cubicBezTo>
                  <a:pt x="15" y="30"/>
                  <a:pt x="22" y="37"/>
                  <a:pt x="24" y="41"/>
                </a:cubicBezTo>
                <a:cubicBezTo>
                  <a:pt x="25" y="38"/>
                  <a:pt x="26" y="35"/>
                  <a:pt x="27" y="31"/>
                </a:cubicBezTo>
                <a:cubicBezTo>
                  <a:pt x="27" y="31"/>
                  <a:pt x="9" y="34"/>
                  <a:pt x="7" y="18"/>
                </a:cubicBezTo>
                <a:cubicBezTo>
                  <a:pt x="23" y="12"/>
                  <a:pt x="27" y="28"/>
                  <a:pt x="27" y="28"/>
                </a:cubicBezTo>
                <a:cubicBezTo>
                  <a:pt x="27" y="26"/>
                  <a:pt x="28" y="21"/>
                  <a:pt x="28" y="21"/>
                </a:cubicBezTo>
                <a:cubicBezTo>
                  <a:pt x="28" y="21"/>
                  <a:pt x="14" y="12"/>
                  <a:pt x="23" y="0"/>
                </a:cubicBezTo>
                <a:cubicBezTo>
                  <a:pt x="39" y="5"/>
                  <a:pt x="31" y="21"/>
                  <a:pt x="31" y="21"/>
                </a:cubicBezTo>
                <a:cubicBezTo>
                  <a:pt x="31" y="21"/>
                  <a:pt x="31" y="24"/>
                  <a:pt x="31" y="25"/>
                </a:cubicBezTo>
                <a:cubicBezTo>
                  <a:pt x="31" y="25"/>
                  <a:pt x="37" y="14"/>
                  <a:pt x="48" y="18"/>
                </a:cubicBezTo>
                <a:cubicBezTo>
                  <a:pt x="48" y="35"/>
                  <a:pt x="30" y="32"/>
                  <a:pt x="30" y="32"/>
                </a:cubicBezTo>
                <a:cubicBezTo>
                  <a:pt x="29" y="35"/>
                  <a:pt x="29" y="39"/>
                  <a:pt x="27" y="42"/>
                </a:cubicBezTo>
                <a:cubicBezTo>
                  <a:pt x="27" y="42"/>
                  <a:pt x="38" y="30"/>
                  <a:pt x="50" y="39"/>
                </a:cubicBezTo>
                <a:cubicBezTo>
                  <a:pt x="43" y="57"/>
                  <a:pt x="25" y="46"/>
                  <a:pt x="25" y="4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28" name="Group 225">
            <a:extLst>
              <a:ext uri="{FF2B5EF4-FFF2-40B4-BE49-F238E27FC236}">
                <a16:creationId xmlns:a16="http://schemas.microsoft.com/office/drawing/2014/main" id="{88578A81-20E9-89B9-DE0E-3885EEF64E5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74529" y="4194635"/>
            <a:ext cx="301895" cy="301895"/>
            <a:chOff x="2632" y="3928"/>
            <a:chExt cx="238" cy="238"/>
          </a:xfrm>
          <a:solidFill>
            <a:schemeClr val="bg1"/>
          </a:solidFill>
        </p:grpSpPr>
        <p:sp>
          <p:nvSpPr>
            <p:cNvPr id="229" name="Freeform 227">
              <a:extLst>
                <a:ext uri="{FF2B5EF4-FFF2-40B4-BE49-F238E27FC236}">
                  <a16:creationId xmlns:a16="http://schemas.microsoft.com/office/drawing/2014/main" id="{EFD33131-AC3C-3DF0-E1CC-374F0C7241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2" y="3928"/>
              <a:ext cx="238" cy="238"/>
            </a:xfrm>
            <a:custGeom>
              <a:avLst/>
              <a:gdLst>
                <a:gd name="T0" fmla="*/ 1369 w 3331"/>
                <a:gd name="T1" fmla="*/ 777 h 3335"/>
                <a:gd name="T2" fmla="*/ 1056 w 3331"/>
                <a:gd name="T3" fmla="*/ 955 h 3335"/>
                <a:gd name="T4" fmla="*/ 832 w 3331"/>
                <a:gd name="T5" fmla="*/ 1236 h 3335"/>
                <a:gd name="T6" fmla="*/ 731 w 3331"/>
                <a:gd name="T7" fmla="*/ 1590 h 3335"/>
                <a:gd name="T8" fmla="*/ 776 w 3331"/>
                <a:gd name="T9" fmla="*/ 1963 h 3335"/>
                <a:gd name="T10" fmla="*/ 954 w 3331"/>
                <a:gd name="T11" fmla="*/ 2277 h 3335"/>
                <a:gd name="T12" fmla="*/ 1235 w 3331"/>
                <a:gd name="T13" fmla="*/ 2500 h 3335"/>
                <a:gd name="T14" fmla="*/ 1589 w 3331"/>
                <a:gd name="T15" fmla="*/ 2603 h 3335"/>
                <a:gd name="T16" fmla="*/ 1961 w 3331"/>
                <a:gd name="T17" fmla="*/ 2558 h 3335"/>
                <a:gd name="T18" fmla="*/ 2275 w 3331"/>
                <a:gd name="T19" fmla="*/ 2380 h 3335"/>
                <a:gd name="T20" fmla="*/ 2498 w 3331"/>
                <a:gd name="T21" fmla="*/ 2098 h 3335"/>
                <a:gd name="T22" fmla="*/ 2599 w 3331"/>
                <a:gd name="T23" fmla="*/ 1744 h 3335"/>
                <a:gd name="T24" fmla="*/ 2554 w 3331"/>
                <a:gd name="T25" fmla="*/ 1371 h 3335"/>
                <a:gd name="T26" fmla="*/ 2376 w 3331"/>
                <a:gd name="T27" fmla="*/ 1057 h 3335"/>
                <a:gd name="T28" fmla="*/ 2096 w 3331"/>
                <a:gd name="T29" fmla="*/ 834 h 3335"/>
                <a:gd name="T30" fmla="*/ 1741 w 3331"/>
                <a:gd name="T31" fmla="*/ 731 h 3335"/>
                <a:gd name="T32" fmla="*/ 1863 w 3331"/>
                <a:gd name="T33" fmla="*/ 11 h 3335"/>
                <a:gd name="T34" fmla="*/ 1924 w 3331"/>
                <a:gd name="T35" fmla="*/ 110 h 3335"/>
                <a:gd name="T36" fmla="*/ 2256 w 3331"/>
                <a:gd name="T37" fmla="*/ 472 h 3335"/>
                <a:gd name="T38" fmla="*/ 2617 w 3331"/>
                <a:gd name="T39" fmla="*/ 358 h 3335"/>
                <a:gd name="T40" fmla="*/ 2719 w 3331"/>
                <a:gd name="T41" fmla="*/ 368 h 3335"/>
                <a:gd name="T42" fmla="*/ 2978 w 3331"/>
                <a:gd name="T43" fmla="*/ 650 h 3335"/>
                <a:gd name="T44" fmla="*/ 2948 w 3331"/>
                <a:gd name="T45" fmla="*/ 749 h 3335"/>
                <a:gd name="T46" fmla="*/ 2926 w 3331"/>
                <a:gd name="T47" fmla="*/ 1236 h 3335"/>
                <a:gd name="T48" fmla="*/ 3268 w 3331"/>
                <a:gd name="T49" fmla="*/ 1419 h 3335"/>
                <a:gd name="T50" fmla="*/ 3331 w 3331"/>
                <a:gd name="T51" fmla="*/ 1517 h 3335"/>
                <a:gd name="T52" fmla="*/ 3289 w 3331"/>
                <a:gd name="T53" fmla="*/ 1902 h 3335"/>
                <a:gd name="T54" fmla="*/ 2952 w 3331"/>
                <a:gd name="T55" fmla="*/ 2013 h 3335"/>
                <a:gd name="T56" fmla="*/ 2773 w 3331"/>
                <a:gd name="T57" fmla="*/ 2408 h 3335"/>
                <a:gd name="T58" fmla="*/ 2981 w 3331"/>
                <a:gd name="T59" fmla="*/ 2662 h 3335"/>
                <a:gd name="T60" fmla="*/ 2737 w 3331"/>
                <a:gd name="T61" fmla="*/ 2952 h 3335"/>
                <a:gd name="T62" fmla="*/ 2638 w 3331"/>
                <a:gd name="T63" fmla="*/ 2982 h 3335"/>
                <a:gd name="T64" fmla="*/ 2333 w 3331"/>
                <a:gd name="T65" fmla="*/ 2822 h 3335"/>
                <a:gd name="T66" fmla="*/ 1925 w 3331"/>
                <a:gd name="T67" fmla="*/ 2975 h 3335"/>
                <a:gd name="T68" fmla="*/ 1883 w 3331"/>
                <a:gd name="T69" fmla="*/ 3311 h 3335"/>
                <a:gd name="T70" fmla="*/ 1491 w 3331"/>
                <a:gd name="T71" fmla="*/ 3332 h 3335"/>
                <a:gd name="T72" fmla="*/ 1409 w 3331"/>
                <a:gd name="T73" fmla="*/ 3250 h 3335"/>
                <a:gd name="T74" fmla="*/ 1153 w 3331"/>
                <a:gd name="T75" fmla="*/ 2899 h 3335"/>
                <a:gd name="T76" fmla="*/ 732 w 3331"/>
                <a:gd name="T77" fmla="*/ 2966 h 3335"/>
                <a:gd name="T78" fmla="*/ 630 w 3331"/>
                <a:gd name="T79" fmla="*/ 2976 h 3335"/>
                <a:gd name="T80" fmla="*/ 358 w 3331"/>
                <a:gd name="T81" fmla="*/ 2703 h 3335"/>
                <a:gd name="T82" fmla="*/ 369 w 3331"/>
                <a:gd name="T83" fmla="*/ 2602 h 3335"/>
                <a:gd name="T84" fmla="*/ 435 w 3331"/>
                <a:gd name="T85" fmla="*/ 2179 h 3335"/>
                <a:gd name="T86" fmla="*/ 85 w 3331"/>
                <a:gd name="T87" fmla="*/ 1923 h 3335"/>
                <a:gd name="T88" fmla="*/ 3 w 3331"/>
                <a:gd name="T89" fmla="*/ 1841 h 3335"/>
                <a:gd name="T90" fmla="*/ 24 w 3331"/>
                <a:gd name="T91" fmla="*/ 1448 h 3335"/>
                <a:gd name="T92" fmla="*/ 359 w 3331"/>
                <a:gd name="T93" fmla="*/ 1407 h 3335"/>
                <a:gd name="T94" fmla="*/ 512 w 3331"/>
                <a:gd name="T95" fmla="*/ 999 h 3335"/>
                <a:gd name="T96" fmla="*/ 352 w 3331"/>
                <a:gd name="T97" fmla="*/ 693 h 3335"/>
                <a:gd name="T98" fmla="*/ 383 w 3331"/>
                <a:gd name="T99" fmla="*/ 593 h 3335"/>
                <a:gd name="T100" fmla="*/ 671 w 3331"/>
                <a:gd name="T101" fmla="*/ 350 h 3335"/>
                <a:gd name="T102" fmla="*/ 924 w 3331"/>
                <a:gd name="T103" fmla="*/ 559 h 3335"/>
                <a:gd name="T104" fmla="*/ 1319 w 3331"/>
                <a:gd name="T105" fmla="*/ 379 h 3335"/>
                <a:gd name="T106" fmla="*/ 1430 w 3331"/>
                <a:gd name="T107" fmla="*/ 41 h 3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31" h="3335">
                  <a:moveTo>
                    <a:pt x="1665" y="728"/>
                  </a:moveTo>
                  <a:lnTo>
                    <a:pt x="1589" y="731"/>
                  </a:lnTo>
                  <a:lnTo>
                    <a:pt x="1514" y="741"/>
                  </a:lnTo>
                  <a:lnTo>
                    <a:pt x="1440" y="755"/>
                  </a:lnTo>
                  <a:lnTo>
                    <a:pt x="1369" y="777"/>
                  </a:lnTo>
                  <a:lnTo>
                    <a:pt x="1301" y="802"/>
                  </a:lnTo>
                  <a:lnTo>
                    <a:pt x="1235" y="834"/>
                  </a:lnTo>
                  <a:lnTo>
                    <a:pt x="1171" y="869"/>
                  </a:lnTo>
                  <a:lnTo>
                    <a:pt x="1112" y="910"/>
                  </a:lnTo>
                  <a:lnTo>
                    <a:pt x="1056" y="955"/>
                  </a:lnTo>
                  <a:lnTo>
                    <a:pt x="1002" y="1004"/>
                  </a:lnTo>
                  <a:lnTo>
                    <a:pt x="954" y="1057"/>
                  </a:lnTo>
                  <a:lnTo>
                    <a:pt x="909" y="1113"/>
                  </a:lnTo>
                  <a:lnTo>
                    <a:pt x="869" y="1173"/>
                  </a:lnTo>
                  <a:lnTo>
                    <a:pt x="832" y="1236"/>
                  </a:lnTo>
                  <a:lnTo>
                    <a:pt x="802" y="1302"/>
                  </a:lnTo>
                  <a:lnTo>
                    <a:pt x="776" y="1371"/>
                  </a:lnTo>
                  <a:lnTo>
                    <a:pt x="755" y="1442"/>
                  </a:lnTo>
                  <a:lnTo>
                    <a:pt x="740" y="1515"/>
                  </a:lnTo>
                  <a:lnTo>
                    <a:pt x="731" y="1590"/>
                  </a:lnTo>
                  <a:lnTo>
                    <a:pt x="728" y="1667"/>
                  </a:lnTo>
                  <a:lnTo>
                    <a:pt x="731" y="1744"/>
                  </a:lnTo>
                  <a:lnTo>
                    <a:pt x="740" y="1819"/>
                  </a:lnTo>
                  <a:lnTo>
                    <a:pt x="755" y="1892"/>
                  </a:lnTo>
                  <a:lnTo>
                    <a:pt x="776" y="1963"/>
                  </a:lnTo>
                  <a:lnTo>
                    <a:pt x="802" y="2032"/>
                  </a:lnTo>
                  <a:lnTo>
                    <a:pt x="832" y="2098"/>
                  </a:lnTo>
                  <a:lnTo>
                    <a:pt x="869" y="2161"/>
                  </a:lnTo>
                  <a:lnTo>
                    <a:pt x="909" y="2221"/>
                  </a:lnTo>
                  <a:lnTo>
                    <a:pt x="954" y="2277"/>
                  </a:lnTo>
                  <a:lnTo>
                    <a:pt x="1002" y="2330"/>
                  </a:lnTo>
                  <a:lnTo>
                    <a:pt x="1056" y="2380"/>
                  </a:lnTo>
                  <a:lnTo>
                    <a:pt x="1112" y="2424"/>
                  </a:lnTo>
                  <a:lnTo>
                    <a:pt x="1171" y="2465"/>
                  </a:lnTo>
                  <a:lnTo>
                    <a:pt x="1235" y="2500"/>
                  </a:lnTo>
                  <a:lnTo>
                    <a:pt x="1301" y="2532"/>
                  </a:lnTo>
                  <a:lnTo>
                    <a:pt x="1369" y="2558"/>
                  </a:lnTo>
                  <a:lnTo>
                    <a:pt x="1440" y="2578"/>
                  </a:lnTo>
                  <a:lnTo>
                    <a:pt x="1514" y="2594"/>
                  </a:lnTo>
                  <a:lnTo>
                    <a:pt x="1589" y="2603"/>
                  </a:lnTo>
                  <a:lnTo>
                    <a:pt x="1665" y="2606"/>
                  </a:lnTo>
                  <a:lnTo>
                    <a:pt x="1741" y="2603"/>
                  </a:lnTo>
                  <a:lnTo>
                    <a:pt x="1817" y="2594"/>
                  </a:lnTo>
                  <a:lnTo>
                    <a:pt x="1890" y="2578"/>
                  </a:lnTo>
                  <a:lnTo>
                    <a:pt x="1961" y="2558"/>
                  </a:lnTo>
                  <a:lnTo>
                    <a:pt x="2030" y="2532"/>
                  </a:lnTo>
                  <a:lnTo>
                    <a:pt x="2096" y="2500"/>
                  </a:lnTo>
                  <a:lnTo>
                    <a:pt x="2159" y="2465"/>
                  </a:lnTo>
                  <a:lnTo>
                    <a:pt x="2218" y="2424"/>
                  </a:lnTo>
                  <a:lnTo>
                    <a:pt x="2275" y="2380"/>
                  </a:lnTo>
                  <a:lnTo>
                    <a:pt x="2328" y="2330"/>
                  </a:lnTo>
                  <a:lnTo>
                    <a:pt x="2376" y="2277"/>
                  </a:lnTo>
                  <a:lnTo>
                    <a:pt x="2421" y="2221"/>
                  </a:lnTo>
                  <a:lnTo>
                    <a:pt x="2461" y="2161"/>
                  </a:lnTo>
                  <a:lnTo>
                    <a:pt x="2498" y="2098"/>
                  </a:lnTo>
                  <a:lnTo>
                    <a:pt x="2528" y="2032"/>
                  </a:lnTo>
                  <a:lnTo>
                    <a:pt x="2554" y="1963"/>
                  </a:lnTo>
                  <a:lnTo>
                    <a:pt x="2575" y="1892"/>
                  </a:lnTo>
                  <a:lnTo>
                    <a:pt x="2590" y="1819"/>
                  </a:lnTo>
                  <a:lnTo>
                    <a:pt x="2599" y="1744"/>
                  </a:lnTo>
                  <a:lnTo>
                    <a:pt x="2602" y="1667"/>
                  </a:lnTo>
                  <a:lnTo>
                    <a:pt x="2599" y="1590"/>
                  </a:lnTo>
                  <a:lnTo>
                    <a:pt x="2590" y="1515"/>
                  </a:lnTo>
                  <a:lnTo>
                    <a:pt x="2575" y="1442"/>
                  </a:lnTo>
                  <a:lnTo>
                    <a:pt x="2554" y="1371"/>
                  </a:lnTo>
                  <a:lnTo>
                    <a:pt x="2528" y="1302"/>
                  </a:lnTo>
                  <a:lnTo>
                    <a:pt x="2498" y="1236"/>
                  </a:lnTo>
                  <a:lnTo>
                    <a:pt x="2461" y="1173"/>
                  </a:lnTo>
                  <a:lnTo>
                    <a:pt x="2421" y="1113"/>
                  </a:lnTo>
                  <a:lnTo>
                    <a:pt x="2376" y="1057"/>
                  </a:lnTo>
                  <a:lnTo>
                    <a:pt x="2328" y="1004"/>
                  </a:lnTo>
                  <a:lnTo>
                    <a:pt x="2275" y="955"/>
                  </a:lnTo>
                  <a:lnTo>
                    <a:pt x="2218" y="910"/>
                  </a:lnTo>
                  <a:lnTo>
                    <a:pt x="2159" y="869"/>
                  </a:lnTo>
                  <a:lnTo>
                    <a:pt x="2096" y="834"/>
                  </a:lnTo>
                  <a:lnTo>
                    <a:pt x="2030" y="802"/>
                  </a:lnTo>
                  <a:lnTo>
                    <a:pt x="1961" y="777"/>
                  </a:lnTo>
                  <a:lnTo>
                    <a:pt x="1890" y="755"/>
                  </a:lnTo>
                  <a:lnTo>
                    <a:pt x="1817" y="741"/>
                  </a:lnTo>
                  <a:lnTo>
                    <a:pt x="1741" y="731"/>
                  </a:lnTo>
                  <a:lnTo>
                    <a:pt x="1665" y="728"/>
                  </a:lnTo>
                  <a:close/>
                  <a:moveTo>
                    <a:pt x="1516" y="0"/>
                  </a:moveTo>
                  <a:lnTo>
                    <a:pt x="1814" y="0"/>
                  </a:lnTo>
                  <a:lnTo>
                    <a:pt x="1840" y="3"/>
                  </a:lnTo>
                  <a:lnTo>
                    <a:pt x="1863" y="11"/>
                  </a:lnTo>
                  <a:lnTo>
                    <a:pt x="1883" y="24"/>
                  </a:lnTo>
                  <a:lnTo>
                    <a:pt x="1900" y="41"/>
                  </a:lnTo>
                  <a:lnTo>
                    <a:pt x="1913" y="62"/>
                  </a:lnTo>
                  <a:lnTo>
                    <a:pt x="1922" y="84"/>
                  </a:lnTo>
                  <a:lnTo>
                    <a:pt x="1924" y="110"/>
                  </a:lnTo>
                  <a:lnTo>
                    <a:pt x="1924" y="358"/>
                  </a:lnTo>
                  <a:lnTo>
                    <a:pt x="2011" y="378"/>
                  </a:lnTo>
                  <a:lnTo>
                    <a:pt x="2095" y="404"/>
                  </a:lnTo>
                  <a:lnTo>
                    <a:pt x="2177" y="435"/>
                  </a:lnTo>
                  <a:lnTo>
                    <a:pt x="2256" y="472"/>
                  </a:lnTo>
                  <a:lnTo>
                    <a:pt x="2332" y="512"/>
                  </a:lnTo>
                  <a:lnTo>
                    <a:pt x="2406" y="558"/>
                  </a:lnTo>
                  <a:lnTo>
                    <a:pt x="2581" y="381"/>
                  </a:lnTo>
                  <a:lnTo>
                    <a:pt x="2598" y="368"/>
                  </a:lnTo>
                  <a:lnTo>
                    <a:pt x="2617" y="358"/>
                  </a:lnTo>
                  <a:lnTo>
                    <a:pt x="2637" y="352"/>
                  </a:lnTo>
                  <a:lnTo>
                    <a:pt x="2659" y="350"/>
                  </a:lnTo>
                  <a:lnTo>
                    <a:pt x="2680" y="352"/>
                  </a:lnTo>
                  <a:lnTo>
                    <a:pt x="2700" y="358"/>
                  </a:lnTo>
                  <a:lnTo>
                    <a:pt x="2719" y="368"/>
                  </a:lnTo>
                  <a:lnTo>
                    <a:pt x="2737" y="381"/>
                  </a:lnTo>
                  <a:lnTo>
                    <a:pt x="2948" y="593"/>
                  </a:lnTo>
                  <a:lnTo>
                    <a:pt x="2962" y="610"/>
                  </a:lnTo>
                  <a:lnTo>
                    <a:pt x="2972" y="630"/>
                  </a:lnTo>
                  <a:lnTo>
                    <a:pt x="2978" y="650"/>
                  </a:lnTo>
                  <a:lnTo>
                    <a:pt x="2980" y="671"/>
                  </a:lnTo>
                  <a:lnTo>
                    <a:pt x="2978" y="693"/>
                  </a:lnTo>
                  <a:lnTo>
                    <a:pt x="2972" y="713"/>
                  </a:lnTo>
                  <a:lnTo>
                    <a:pt x="2962" y="732"/>
                  </a:lnTo>
                  <a:lnTo>
                    <a:pt x="2948" y="749"/>
                  </a:lnTo>
                  <a:lnTo>
                    <a:pt x="2772" y="926"/>
                  </a:lnTo>
                  <a:lnTo>
                    <a:pt x="2818" y="999"/>
                  </a:lnTo>
                  <a:lnTo>
                    <a:pt x="2859" y="1075"/>
                  </a:lnTo>
                  <a:lnTo>
                    <a:pt x="2895" y="1154"/>
                  </a:lnTo>
                  <a:lnTo>
                    <a:pt x="2926" y="1236"/>
                  </a:lnTo>
                  <a:lnTo>
                    <a:pt x="2951" y="1320"/>
                  </a:lnTo>
                  <a:lnTo>
                    <a:pt x="2972" y="1407"/>
                  </a:lnTo>
                  <a:lnTo>
                    <a:pt x="3220" y="1407"/>
                  </a:lnTo>
                  <a:lnTo>
                    <a:pt x="3245" y="1409"/>
                  </a:lnTo>
                  <a:lnTo>
                    <a:pt x="3268" y="1419"/>
                  </a:lnTo>
                  <a:lnTo>
                    <a:pt x="3289" y="1432"/>
                  </a:lnTo>
                  <a:lnTo>
                    <a:pt x="3306" y="1448"/>
                  </a:lnTo>
                  <a:lnTo>
                    <a:pt x="3319" y="1469"/>
                  </a:lnTo>
                  <a:lnTo>
                    <a:pt x="3328" y="1492"/>
                  </a:lnTo>
                  <a:lnTo>
                    <a:pt x="3331" y="1517"/>
                  </a:lnTo>
                  <a:lnTo>
                    <a:pt x="3331" y="1816"/>
                  </a:lnTo>
                  <a:lnTo>
                    <a:pt x="3328" y="1841"/>
                  </a:lnTo>
                  <a:lnTo>
                    <a:pt x="3320" y="1865"/>
                  </a:lnTo>
                  <a:lnTo>
                    <a:pt x="3307" y="1885"/>
                  </a:lnTo>
                  <a:lnTo>
                    <a:pt x="3289" y="1902"/>
                  </a:lnTo>
                  <a:lnTo>
                    <a:pt x="3269" y="1915"/>
                  </a:lnTo>
                  <a:lnTo>
                    <a:pt x="3246" y="1923"/>
                  </a:lnTo>
                  <a:lnTo>
                    <a:pt x="3221" y="1927"/>
                  </a:lnTo>
                  <a:lnTo>
                    <a:pt x="2972" y="1927"/>
                  </a:lnTo>
                  <a:lnTo>
                    <a:pt x="2952" y="2013"/>
                  </a:lnTo>
                  <a:lnTo>
                    <a:pt x="2926" y="2098"/>
                  </a:lnTo>
                  <a:lnTo>
                    <a:pt x="2896" y="2179"/>
                  </a:lnTo>
                  <a:lnTo>
                    <a:pt x="2859" y="2259"/>
                  </a:lnTo>
                  <a:lnTo>
                    <a:pt x="2819" y="2335"/>
                  </a:lnTo>
                  <a:lnTo>
                    <a:pt x="2773" y="2408"/>
                  </a:lnTo>
                  <a:lnTo>
                    <a:pt x="2948" y="2585"/>
                  </a:lnTo>
                  <a:lnTo>
                    <a:pt x="2962" y="2602"/>
                  </a:lnTo>
                  <a:lnTo>
                    <a:pt x="2973" y="2621"/>
                  </a:lnTo>
                  <a:lnTo>
                    <a:pt x="2979" y="2641"/>
                  </a:lnTo>
                  <a:lnTo>
                    <a:pt x="2981" y="2662"/>
                  </a:lnTo>
                  <a:lnTo>
                    <a:pt x="2979" y="2683"/>
                  </a:lnTo>
                  <a:lnTo>
                    <a:pt x="2973" y="2703"/>
                  </a:lnTo>
                  <a:lnTo>
                    <a:pt x="2962" y="2722"/>
                  </a:lnTo>
                  <a:lnTo>
                    <a:pt x="2948" y="2740"/>
                  </a:lnTo>
                  <a:lnTo>
                    <a:pt x="2737" y="2952"/>
                  </a:lnTo>
                  <a:lnTo>
                    <a:pt x="2719" y="2966"/>
                  </a:lnTo>
                  <a:lnTo>
                    <a:pt x="2701" y="2976"/>
                  </a:lnTo>
                  <a:lnTo>
                    <a:pt x="2680" y="2982"/>
                  </a:lnTo>
                  <a:lnTo>
                    <a:pt x="2660" y="2984"/>
                  </a:lnTo>
                  <a:lnTo>
                    <a:pt x="2638" y="2982"/>
                  </a:lnTo>
                  <a:lnTo>
                    <a:pt x="2618" y="2976"/>
                  </a:lnTo>
                  <a:lnTo>
                    <a:pt x="2599" y="2966"/>
                  </a:lnTo>
                  <a:lnTo>
                    <a:pt x="2582" y="2952"/>
                  </a:lnTo>
                  <a:lnTo>
                    <a:pt x="2406" y="2775"/>
                  </a:lnTo>
                  <a:lnTo>
                    <a:pt x="2333" y="2822"/>
                  </a:lnTo>
                  <a:lnTo>
                    <a:pt x="2256" y="2862"/>
                  </a:lnTo>
                  <a:lnTo>
                    <a:pt x="2177" y="2899"/>
                  </a:lnTo>
                  <a:lnTo>
                    <a:pt x="2096" y="2929"/>
                  </a:lnTo>
                  <a:lnTo>
                    <a:pt x="2012" y="2956"/>
                  </a:lnTo>
                  <a:lnTo>
                    <a:pt x="1925" y="2975"/>
                  </a:lnTo>
                  <a:lnTo>
                    <a:pt x="1925" y="3224"/>
                  </a:lnTo>
                  <a:lnTo>
                    <a:pt x="1922" y="3250"/>
                  </a:lnTo>
                  <a:lnTo>
                    <a:pt x="1914" y="3273"/>
                  </a:lnTo>
                  <a:lnTo>
                    <a:pt x="1900" y="3293"/>
                  </a:lnTo>
                  <a:lnTo>
                    <a:pt x="1883" y="3311"/>
                  </a:lnTo>
                  <a:lnTo>
                    <a:pt x="1863" y="3323"/>
                  </a:lnTo>
                  <a:lnTo>
                    <a:pt x="1840" y="3332"/>
                  </a:lnTo>
                  <a:lnTo>
                    <a:pt x="1815" y="3335"/>
                  </a:lnTo>
                  <a:lnTo>
                    <a:pt x="1516" y="3335"/>
                  </a:lnTo>
                  <a:lnTo>
                    <a:pt x="1491" y="3332"/>
                  </a:lnTo>
                  <a:lnTo>
                    <a:pt x="1468" y="3323"/>
                  </a:lnTo>
                  <a:lnTo>
                    <a:pt x="1448" y="3311"/>
                  </a:lnTo>
                  <a:lnTo>
                    <a:pt x="1431" y="3293"/>
                  </a:lnTo>
                  <a:lnTo>
                    <a:pt x="1417" y="3273"/>
                  </a:lnTo>
                  <a:lnTo>
                    <a:pt x="1409" y="3250"/>
                  </a:lnTo>
                  <a:lnTo>
                    <a:pt x="1406" y="3224"/>
                  </a:lnTo>
                  <a:lnTo>
                    <a:pt x="1406" y="2975"/>
                  </a:lnTo>
                  <a:lnTo>
                    <a:pt x="1319" y="2956"/>
                  </a:lnTo>
                  <a:lnTo>
                    <a:pt x="1235" y="2929"/>
                  </a:lnTo>
                  <a:lnTo>
                    <a:pt x="1153" y="2899"/>
                  </a:lnTo>
                  <a:lnTo>
                    <a:pt x="1074" y="2862"/>
                  </a:lnTo>
                  <a:lnTo>
                    <a:pt x="998" y="2822"/>
                  </a:lnTo>
                  <a:lnTo>
                    <a:pt x="925" y="2775"/>
                  </a:lnTo>
                  <a:lnTo>
                    <a:pt x="749" y="2952"/>
                  </a:lnTo>
                  <a:lnTo>
                    <a:pt x="732" y="2966"/>
                  </a:lnTo>
                  <a:lnTo>
                    <a:pt x="713" y="2976"/>
                  </a:lnTo>
                  <a:lnTo>
                    <a:pt x="693" y="2982"/>
                  </a:lnTo>
                  <a:lnTo>
                    <a:pt x="671" y="2984"/>
                  </a:lnTo>
                  <a:lnTo>
                    <a:pt x="651" y="2982"/>
                  </a:lnTo>
                  <a:lnTo>
                    <a:pt x="630" y="2976"/>
                  </a:lnTo>
                  <a:lnTo>
                    <a:pt x="612" y="2966"/>
                  </a:lnTo>
                  <a:lnTo>
                    <a:pt x="594" y="2952"/>
                  </a:lnTo>
                  <a:lnTo>
                    <a:pt x="383" y="2740"/>
                  </a:lnTo>
                  <a:lnTo>
                    <a:pt x="369" y="2722"/>
                  </a:lnTo>
                  <a:lnTo>
                    <a:pt x="358" y="2703"/>
                  </a:lnTo>
                  <a:lnTo>
                    <a:pt x="352" y="2683"/>
                  </a:lnTo>
                  <a:lnTo>
                    <a:pt x="350" y="2662"/>
                  </a:lnTo>
                  <a:lnTo>
                    <a:pt x="352" y="2641"/>
                  </a:lnTo>
                  <a:lnTo>
                    <a:pt x="358" y="2621"/>
                  </a:lnTo>
                  <a:lnTo>
                    <a:pt x="369" y="2602"/>
                  </a:lnTo>
                  <a:lnTo>
                    <a:pt x="383" y="2585"/>
                  </a:lnTo>
                  <a:lnTo>
                    <a:pt x="558" y="2408"/>
                  </a:lnTo>
                  <a:lnTo>
                    <a:pt x="512" y="2335"/>
                  </a:lnTo>
                  <a:lnTo>
                    <a:pt x="472" y="2258"/>
                  </a:lnTo>
                  <a:lnTo>
                    <a:pt x="435" y="2179"/>
                  </a:lnTo>
                  <a:lnTo>
                    <a:pt x="405" y="2098"/>
                  </a:lnTo>
                  <a:lnTo>
                    <a:pt x="379" y="2013"/>
                  </a:lnTo>
                  <a:lnTo>
                    <a:pt x="359" y="1927"/>
                  </a:lnTo>
                  <a:lnTo>
                    <a:pt x="110" y="1927"/>
                  </a:lnTo>
                  <a:lnTo>
                    <a:pt x="85" y="1923"/>
                  </a:lnTo>
                  <a:lnTo>
                    <a:pt x="62" y="1915"/>
                  </a:lnTo>
                  <a:lnTo>
                    <a:pt x="41" y="1902"/>
                  </a:lnTo>
                  <a:lnTo>
                    <a:pt x="24" y="1885"/>
                  </a:lnTo>
                  <a:lnTo>
                    <a:pt x="11" y="1865"/>
                  </a:lnTo>
                  <a:lnTo>
                    <a:pt x="3" y="1841"/>
                  </a:lnTo>
                  <a:lnTo>
                    <a:pt x="0" y="1816"/>
                  </a:lnTo>
                  <a:lnTo>
                    <a:pt x="0" y="1517"/>
                  </a:lnTo>
                  <a:lnTo>
                    <a:pt x="3" y="1492"/>
                  </a:lnTo>
                  <a:lnTo>
                    <a:pt x="11" y="1469"/>
                  </a:lnTo>
                  <a:lnTo>
                    <a:pt x="24" y="1448"/>
                  </a:lnTo>
                  <a:lnTo>
                    <a:pt x="41" y="1432"/>
                  </a:lnTo>
                  <a:lnTo>
                    <a:pt x="62" y="1419"/>
                  </a:lnTo>
                  <a:lnTo>
                    <a:pt x="85" y="1409"/>
                  </a:lnTo>
                  <a:lnTo>
                    <a:pt x="110" y="1407"/>
                  </a:lnTo>
                  <a:lnTo>
                    <a:pt x="359" y="1407"/>
                  </a:lnTo>
                  <a:lnTo>
                    <a:pt x="379" y="1320"/>
                  </a:lnTo>
                  <a:lnTo>
                    <a:pt x="405" y="1236"/>
                  </a:lnTo>
                  <a:lnTo>
                    <a:pt x="435" y="1154"/>
                  </a:lnTo>
                  <a:lnTo>
                    <a:pt x="472" y="1075"/>
                  </a:lnTo>
                  <a:lnTo>
                    <a:pt x="512" y="999"/>
                  </a:lnTo>
                  <a:lnTo>
                    <a:pt x="558" y="926"/>
                  </a:lnTo>
                  <a:lnTo>
                    <a:pt x="383" y="749"/>
                  </a:lnTo>
                  <a:lnTo>
                    <a:pt x="369" y="732"/>
                  </a:lnTo>
                  <a:lnTo>
                    <a:pt x="358" y="713"/>
                  </a:lnTo>
                  <a:lnTo>
                    <a:pt x="352" y="693"/>
                  </a:lnTo>
                  <a:lnTo>
                    <a:pt x="350" y="671"/>
                  </a:lnTo>
                  <a:lnTo>
                    <a:pt x="352" y="650"/>
                  </a:lnTo>
                  <a:lnTo>
                    <a:pt x="358" y="630"/>
                  </a:lnTo>
                  <a:lnTo>
                    <a:pt x="369" y="610"/>
                  </a:lnTo>
                  <a:lnTo>
                    <a:pt x="383" y="593"/>
                  </a:lnTo>
                  <a:lnTo>
                    <a:pt x="593" y="382"/>
                  </a:lnTo>
                  <a:lnTo>
                    <a:pt x="610" y="368"/>
                  </a:lnTo>
                  <a:lnTo>
                    <a:pt x="630" y="358"/>
                  </a:lnTo>
                  <a:lnTo>
                    <a:pt x="650" y="352"/>
                  </a:lnTo>
                  <a:lnTo>
                    <a:pt x="671" y="350"/>
                  </a:lnTo>
                  <a:lnTo>
                    <a:pt x="691" y="352"/>
                  </a:lnTo>
                  <a:lnTo>
                    <a:pt x="713" y="358"/>
                  </a:lnTo>
                  <a:lnTo>
                    <a:pt x="731" y="368"/>
                  </a:lnTo>
                  <a:lnTo>
                    <a:pt x="748" y="382"/>
                  </a:lnTo>
                  <a:lnTo>
                    <a:pt x="924" y="559"/>
                  </a:lnTo>
                  <a:lnTo>
                    <a:pt x="997" y="513"/>
                  </a:lnTo>
                  <a:lnTo>
                    <a:pt x="1074" y="472"/>
                  </a:lnTo>
                  <a:lnTo>
                    <a:pt x="1153" y="435"/>
                  </a:lnTo>
                  <a:lnTo>
                    <a:pt x="1235" y="405"/>
                  </a:lnTo>
                  <a:lnTo>
                    <a:pt x="1319" y="379"/>
                  </a:lnTo>
                  <a:lnTo>
                    <a:pt x="1405" y="359"/>
                  </a:lnTo>
                  <a:lnTo>
                    <a:pt x="1405" y="110"/>
                  </a:lnTo>
                  <a:lnTo>
                    <a:pt x="1408" y="84"/>
                  </a:lnTo>
                  <a:lnTo>
                    <a:pt x="1416" y="62"/>
                  </a:lnTo>
                  <a:lnTo>
                    <a:pt x="1430" y="41"/>
                  </a:lnTo>
                  <a:lnTo>
                    <a:pt x="1447" y="24"/>
                  </a:lnTo>
                  <a:lnTo>
                    <a:pt x="1467" y="11"/>
                  </a:lnTo>
                  <a:lnTo>
                    <a:pt x="1490" y="3"/>
                  </a:lnTo>
                  <a:lnTo>
                    <a:pt x="15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228">
              <a:extLst>
                <a:ext uri="{FF2B5EF4-FFF2-40B4-BE49-F238E27FC236}">
                  <a16:creationId xmlns:a16="http://schemas.microsoft.com/office/drawing/2014/main" id="{0167379F-88BE-986A-4971-259BC32DB9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9" y="3995"/>
              <a:ext cx="104" cy="105"/>
            </a:xfrm>
            <a:custGeom>
              <a:avLst/>
              <a:gdLst>
                <a:gd name="T0" fmla="*/ 676 w 1465"/>
                <a:gd name="T1" fmla="*/ 240 h 1466"/>
                <a:gd name="T2" fmla="*/ 671 w 1465"/>
                <a:gd name="T3" fmla="*/ 320 h 1466"/>
                <a:gd name="T4" fmla="*/ 658 w 1465"/>
                <a:gd name="T5" fmla="*/ 349 h 1466"/>
                <a:gd name="T6" fmla="*/ 578 w 1465"/>
                <a:gd name="T7" fmla="*/ 385 h 1466"/>
                <a:gd name="T8" fmla="*/ 502 w 1465"/>
                <a:gd name="T9" fmla="*/ 466 h 1466"/>
                <a:gd name="T10" fmla="*/ 480 w 1465"/>
                <a:gd name="T11" fmla="*/ 585 h 1466"/>
                <a:gd name="T12" fmla="*/ 524 w 1465"/>
                <a:gd name="T13" fmla="*/ 688 h 1466"/>
                <a:gd name="T14" fmla="*/ 626 w 1465"/>
                <a:gd name="T15" fmla="*/ 763 h 1466"/>
                <a:gd name="T16" fmla="*/ 752 w 1465"/>
                <a:gd name="T17" fmla="*/ 817 h 1466"/>
                <a:gd name="T18" fmla="*/ 809 w 1465"/>
                <a:gd name="T19" fmla="*/ 871 h 1466"/>
                <a:gd name="T20" fmla="*/ 800 w 1465"/>
                <a:gd name="T21" fmla="*/ 939 h 1466"/>
                <a:gd name="T22" fmla="*/ 708 w 1465"/>
                <a:gd name="T23" fmla="*/ 975 h 1466"/>
                <a:gd name="T24" fmla="*/ 573 w 1465"/>
                <a:gd name="T25" fmla="*/ 948 h 1466"/>
                <a:gd name="T26" fmla="*/ 512 w 1465"/>
                <a:gd name="T27" fmla="*/ 927 h 1466"/>
                <a:gd name="T28" fmla="*/ 486 w 1465"/>
                <a:gd name="T29" fmla="*/ 986 h 1466"/>
                <a:gd name="T30" fmla="*/ 474 w 1465"/>
                <a:gd name="T31" fmla="*/ 1056 h 1466"/>
                <a:gd name="T32" fmla="*/ 532 w 1465"/>
                <a:gd name="T33" fmla="*/ 1091 h 1466"/>
                <a:gd name="T34" fmla="*/ 641 w 1465"/>
                <a:gd name="T35" fmla="*/ 1116 h 1466"/>
                <a:gd name="T36" fmla="*/ 662 w 1465"/>
                <a:gd name="T37" fmla="*/ 1141 h 1466"/>
                <a:gd name="T38" fmla="*/ 670 w 1465"/>
                <a:gd name="T39" fmla="*/ 1226 h 1466"/>
                <a:gd name="T40" fmla="*/ 775 w 1465"/>
                <a:gd name="T41" fmla="*/ 1233 h 1466"/>
                <a:gd name="T42" fmla="*/ 792 w 1465"/>
                <a:gd name="T43" fmla="*/ 1172 h 1466"/>
                <a:gd name="T44" fmla="*/ 807 w 1465"/>
                <a:gd name="T45" fmla="*/ 1106 h 1466"/>
                <a:gd name="T46" fmla="*/ 901 w 1465"/>
                <a:gd name="T47" fmla="*/ 1062 h 1466"/>
                <a:gd name="T48" fmla="*/ 977 w 1465"/>
                <a:gd name="T49" fmla="*/ 965 h 1466"/>
                <a:gd name="T50" fmla="*/ 989 w 1465"/>
                <a:gd name="T51" fmla="*/ 840 h 1466"/>
                <a:gd name="T52" fmla="*/ 928 w 1465"/>
                <a:gd name="T53" fmla="*/ 728 h 1466"/>
                <a:gd name="T54" fmla="*/ 791 w 1465"/>
                <a:gd name="T55" fmla="*/ 647 h 1466"/>
                <a:gd name="T56" fmla="*/ 682 w 1465"/>
                <a:gd name="T57" fmla="*/ 592 h 1466"/>
                <a:gd name="T58" fmla="*/ 657 w 1465"/>
                <a:gd name="T59" fmla="*/ 535 h 1466"/>
                <a:gd name="T60" fmla="*/ 697 w 1465"/>
                <a:gd name="T61" fmla="*/ 488 h 1466"/>
                <a:gd name="T62" fmla="*/ 818 w 1465"/>
                <a:gd name="T63" fmla="*/ 485 h 1466"/>
                <a:gd name="T64" fmla="*/ 916 w 1465"/>
                <a:gd name="T65" fmla="*/ 516 h 1466"/>
                <a:gd name="T66" fmla="*/ 946 w 1465"/>
                <a:gd name="T67" fmla="*/ 452 h 1466"/>
                <a:gd name="T68" fmla="*/ 950 w 1465"/>
                <a:gd name="T69" fmla="*/ 380 h 1466"/>
                <a:gd name="T70" fmla="*/ 842 w 1465"/>
                <a:gd name="T71" fmla="*/ 345 h 1466"/>
                <a:gd name="T72" fmla="*/ 800 w 1465"/>
                <a:gd name="T73" fmla="*/ 330 h 1466"/>
                <a:gd name="T74" fmla="*/ 797 w 1465"/>
                <a:gd name="T75" fmla="*/ 270 h 1466"/>
                <a:gd name="T76" fmla="*/ 774 w 1465"/>
                <a:gd name="T77" fmla="*/ 231 h 1466"/>
                <a:gd name="T78" fmla="*/ 733 w 1465"/>
                <a:gd name="T79" fmla="*/ 0 h 1466"/>
                <a:gd name="T80" fmla="*/ 989 w 1465"/>
                <a:gd name="T81" fmla="*/ 46 h 1466"/>
                <a:gd name="T82" fmla="*/ 1205 w 1465"/>
                <a:gd name="T83" fmla="*/ 172 h 1466"/>
                <a:gd name="T84" fmla="*/ 1365 w 1465"/>
                <a:gd name="T85" fmla="*/ 363 h 1466"/>
                <a:gd name="T86" fmla="*/ 1453 w 1465"/>
                <a:gd name="T87" fmla="*/ 601 h 1466"/>
                <a:gd name="T88" fmla="*/ 1453 w 1465"/>
                <a:gd name="T89" fmla="*/ 865 h 1466"/>
                <a:gd name="T90" fmla="*/ 1365 w 1465"/>
                <a:gd name="T91" fmla="*/ 1103 h 1466"/>
                <a:gd name="T92" fmla="*/ 1205 w 1465"/>
                <a:gd name="T93" fmla="*/ 1294 h 1466"/>
                <a:gd name="T94" fmla="*/ 989 w 1465"/>
                <a:gd name="T95" fmla="*/ 1420 h 1466"/>
                <a:gd name="T96" fmla="*/ 733 w 1465"/>
                <a:gd name="T97" fmla="*/ 1466 h 1466"/>
                <a:gd name="T98" fmla="*/ 477 w 1465"/>
                <a:gd name="T99" fmla="*/ 1420 h 1466"/>
                <a:gd name="T100" fmla="*/ 261 w 1465"/>
                <a:gd name="T101" fmla="*/ 1294 h 1466"/>
                <a:gd name="T102" fmla="*/ 101 w 1465"/>
                <a:gd name="T103" fmla="*/ 1103 h 1466"/>
                <a:gd name="T104" fmla="*/ 13 w 1465"/>
                <a:gd name="T105" fmla="*/ 865 h 1466"/>
                <a:gd name="T106" fmla="*/ 12 w 1465"/>
                <a:gd name="T107" fmla="*/ 606 h 1466"/>
                <a:gd name="T108" fmla="*/ 93 w 1465"/>
                <a:gd name="T109" fmla="*/ 377 h 1466"/>
                <a:gd name="T110" fmla="*/ 240 w 1465"/>
                <a:gd name="T111" fmla="*/ 191 h 1466"/>
                <a:gd name="T112" fmla="*/ 437 w 1465"/>
                <a:gd name="T113" fmla="*/ 62 h 1466"/>
                <a:gd name="T114" fmla="*/ 671 w 1465"/>
                <a:gd name="T115" fmla="*/ 2 h 1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65" h="1466">
                  <a:moveTo>
                    <a:pt x="706" y="230"/>
                  </a:moveTo>
                  <a:lnTo>
                    <a:pt x="691" y="231"/>
                  </a:lnTo>
                  <a:lnTo>
                    <a:pt x="682" y="234"/>
                  </a:lnTo>
                  <a:lnTo>
                    <a:pt x="676" y="240"/>
                  </a:lnTo>
                  <a:lnTo>
                    <a:pt x="673" y="250"/>
                  </a:lnTo>
                  <a:lnTo>
                    <a:pt x="672" y="266"/>
                  </a:lnTo>
                  <a:lnTo>
                    <a:pt x="672" y="306"/>
                  </a:lnTo>
                  <a:lnTo>
                    <a:pt x="671" y="320"/>
                  </a:lnTo>
                  <a:lnTo>
                    <a:pt x="671" y="330"/>
                  </a:lnTo>
                  <a:lnTo>
                    <a:pt x="669" y="339"/>
                  </a:lnTo>
                  <a:lnTo>
                    <a:pt x="665" y="344"/>
                  </a:lnTo>
                  <a:lnTo>
                    <a:pt x="658" y="349"/>
                  </a:lnTo>
                  <a:lnTo>
                    <a:pt x="647" y="353"/>
                  </a:lnTo>
                  <a:lnTo>
                    <a:pt x="633" y="358"/>
                  </a:lnTo>
                  <a:lnTo>
                    <a:pt x="604" y="370"/>
                  </a:lnTo>
                  <a:lnTo>
                    <a:pt x="578" y="385"/>
                  </a:lnTo>
                  <a:lnTo>
                    <a:pt x="554" y="401"/>
                  </a:lnTo>
                  <a:lnTo>
                    <a:pt x="534" y="421"/>
                  </a:lnTo>
                  <a:lnTo>
                    <a:pt x="516" y="442"/>
                  </a:lnTo>
                  <a:lnTo>
                    <a:pt x="502" y="466"/>
                  </a:lnTo>
                  <a:lnTo>
                    <a:pt x="490" y="493"/>
                  </a:lnTo>
                  <a:lnTo>
                    <a:pt x="483" y="522"/>
                  </a:lnTo>
                  <a:lnTo>
                    <a:pt x="479" y="553"/>
                  </a:lnTo>
                  <a:lnTo>
                    <a:pt x="480" y="585"/>
                  </a:lnTo>
                  <a:lnTo>
                    <a:pt x="484" y="614"/>
                  </a:lnTo>
                  <a:lnTo>
                    <a:pt x="494" y="642"/>
                  </a:lnTo>
                  <a:lnTo>
                    <a:pt x="507" y="666"/>
                  </a:lnTo>
                  <a:lnTo>
                    <a:pt x="524" y="688"/>
                  </a:lnTo>
                  <a:lnTo>
                    <a:pt x="543" y="709"/>
                  </a:lnTo>
                  <a:lnTo>
                    <a:pt x="566" y="728"/>
                  </a:lnTo>
                  <a:lnTo>
                    <a:pt x="593" y="745"/>
                  </a:lnTo>
                  <a:lnTo>
                    <a:pt x="626" y="763"/>
                  </a:lnTo>
                  <a:lnTo>
                    <a:pt x="662" y="779"/>
                  </a:lnTo>
                  <a:lnTo>
                    <a:pt x="697" y="793"/>
                  </a:lnTo>
                  <a:lnTo>
                    <a:pt x="733" y="808"/>
                  </a:lnTo>
                  <a:lnTo>
                    <a:pt x="752" y="817"/>
                  </a:lnTo>
                  <a:lnTo>
                    <a:pt x="768" y="826"/>
                  </a:lnTo>
                  <a:lnTo>
                    <a:pt x="785" y="838"/>
                  </a:lnTo>
                  <a:lnTo>
                    <a:pt x="799" y="854"/>
                  </a:lnTo>
                  <a:lnTo>
                    <a:pt x="809" y="871"/>
                  </a:lnTo>
                  <a:lnTo>
                    <a:pt x="813" y="888"/>
                  </a:lnTo>
                  <a:lnTo>
                    <a:pt x="813" y="905"/>
                  </a:lnTo>
                  <a:lnTo>
                    <a:pt x="809" y="923"/>
                  </a:lnTo>
                  <a:lnTo>
                    <a:pt x="800" y="939"/>
                  </a:lnTo>
                  <a:lnTo>
                    <a:pt x="786" y="952"/>
                  </a:lnTo>
                  <a:lnTo>
                    <a:pt x="768" y="962"/>
                  </a:lnTo>
                  <a:lnTo>
                    <a:pt x="739" y="971"/>
                  </a:lnTo>
                  <a:lnTo>
                    <a:pt x="708" y="975"/>
                  </a:lnTo>
                  <a:lnTo>
                    <a:pt x="678" y="974"/>
                  </a:lnTo>
                  <a:lnTo>
                    <a:pt x="641" y="968"/>
                  </a:lnTo>
                  <a:lnTo>
                    <a:pt x="606" y="959"/>
                  </a:lnTo>
                  <a:lnTo>
                    <a:pt x="573" y="948"/>
                  </a:lnTo>
                  <a:lnTo>
                    <a:pt x="539" y="933"/>
                  </a:lnTo>
                  <a:lnTo>
                    <a:pt x="528" y="928"/>
                  </a:lnTo>
                  <a:lnTo>
                    <a:pt x="519" y="926"/>
                  </a:lnTo>
                  <a:lnTo>
                    <a:pt x="512" y="927"/>
                  </a:lnTo>
                  <a:lnTo>
                    <a:pt x="507" y="931"/>
                  </a:lnTo>
                  <a:lnTo>
                    <a:pt x="502" y="939"/>
                  </a:lnTo>
                  <a:lnTo>
                    <a:pt x="498" y="951"/>
                  </a:lnTo>
                  <a:lnTo>
                    <a:pt x="486" y="986"/>
                  </a:lnTo>
                  <a:lnTo>
                    <a:pt x="477" y="1023"/>
                  </a:lnTo>
                  <a:lnTo>
                    <a:pt x="473" y="1037"/>
                  </a:lnTo>
                  <a:lnTo>
                    <a:pt x="472" y="1048"/>
                  </a:lnTo>
                  <a:lnTo>
                    <a:pt x="474" y="1056"/>
                  </a:lnTo>
                  <a:lnTo>
                    <a:pt x="480" y="1065"/>
                  </a:lnTo>
                  <a:lnTo>
                    <a:pt x="489" y="1071"/>
                  </a:lnTo>
                  <a:lnTo>
                    <a:pt x="503" y="1078"/>
                  </a:lnTo>
                  <a:lnTo>
                    <a:pt x="532" y="1091"/>
                  </a:lnTo>
                  <a:lnTo>
                    <a:pt x="563" y="1100"/>
                  </a:lnTo>
                  <a:lnTo>
                    <a:pt x="595" y="1108"/>
                  </a:lnTo>
                  <a:lnTo>
                    <a:pt x="626" y="1113"/>
                  </a:lnTo>
                  <a:lnTo>
                    <a:pt x="641" y="1116"/>
                  </a:lnTo>
                  <a:lnTo>
                    <a:pt x="650" y="1119"/>
                  </a:lnTo>
                  <a:lnTo>
                    <a:pt x="657" y="1123"/>
                  </a:lnTo>
                  <a:lnTo>
                    <a:pt x="660" y="1130"/>
                  </a:lnTo>
                  <a:lnTo>
                    <a:pt x="662" y="1141"/>
                  </a:lnTo>
                  <a:lnTo>
                    <a:pt x="662" y="1156"/>
                  </a:lnTo>
                  <a:lnTo>
                    <a:pt x="663" y="1203"/>
                  </a:lnTo>
                  <a:lnTo>
                    <a:pt x="665" y="1217"/>
                  </a:lnTo>
                  <a:lnTo>
                    <a:pt x="670" y="1226"/>
                  </a:lnTo>
                  <a:lnTo>
                    <a:pt x="679" y="1232"/>
                  </a:lnTo>
                  <a:lnTo>
                    <a:pt x="693" y="1235"/>
                  </a:lnTo>
                  <a:lnTo>
                    <a:pt x="763" y="1235"/>
                  </a:lnTo>
                  <a:lnTo>
                    <a:pt x="775" y="1233"/>
                  </a:lnTo>
                  <a:lnTo>
                    <a:pt x="784" y="1227"/>
                  </a:lnTo>
                  <a:lnTo>
                    <a:pt x="790" y="1218"/>
                  </a:lnTo>
                  <a:lnTo>
                    <a:pt x="791" y="1204"/>
                  </a:lnTo>
                  <a:lnTo>
                    <a:pt x="792" y="1172"/>
                  </a:lnTo>
                  <a:lnTo>
                    <a:pt x="791" y="1140"/>
                  </a:lnTo>
                  <a:lnTo>
                    <a:pt x="792" y="1125"/>
                  </a:lnTo>
                  <a:lnTo>
                    <a:pt x="798" y="1114"/>
                  </a:lnTo>
                  <a:lnTo>
                    <a:pt x="807" y="1106"/>
                  </a:lnTo>
                  <a:lnTo>
                    <a:pt x="821" y="1101"/>
                  </a:lnTo>
                  <a:lnTo>
                    <a:pt x="850" y="1091"/>
                  </a:lnTo>
                  <a:lnTo>
                    <a:pt x="876" y="1079"/>
                  </a:lnTo>
                  <a:lnTo>
                    <a:pt x="901" y="1062"/>
                  </a:lnTo>
                  <a:lnTo>
                    <a:pt x="923" y="1044"/>
                  </a:lnTo>
                  <a:lnTo>
                    <a:pt x="943" y="1022"/>
                  </a:lnTo>
                  <a:lnTo>
                    <a:pt x="963" y="995"/>
                  </a:lnTo>
                  <a:lnTo>
                    <a:pt x="977" y="965"/>
                  </a:lnTo>
                  <a:lnTo>
                    <a:pt x="988" y="934"/>
                  </a:lnTo>
                  <a:lnTo>
                    <a:pt x="993" y="903"/>
                  </a:lnTo>
                  <a:lnTo>
                    <a:pt x="993" y="872"/>
                  </a:lnTo>
                  <a:lnTo>
                    <a:pt x="989" y="840"/>
                  </a:lnTo>
                  <a:lnTo>
                    <a:pt x="980" y="810"/>
                  </a:lnTo>
                  <a:lnTo>
                    <a:pt x="966" y="781"/>
                  </a:lnTo>
                  <a:lnTo>
                    <a:pt x="949" y="753"/>
                  </a:lnTo>
                  <a:lnTo>
                    <a:pt x="928" y="728"/>
                  </a:lnTo>
                  <a:lnTo>
                    <a:pt x="903" y="705"/>
                  </a:lnTo>
                  <a:lnTo>
                    <a:pt x="872" y="685"/>
                  </a:lnTo>
                  <a:lnTo>
                    <a:pt x="832" y="665"/>
                  </a:lnTo>
                  <a:lnTo>
                    <a:pt x="791" y="647"/>
                  </a:lnTo>
                  <a:lnTo>
                    <a:pt x="750" y="630"/>
                  </a:lnTo>
                  <a:lnTo>
                    <a:pt x="726" y="619"/>
                  </a:lnTo>
                  <a:lnTo>
                    <a:pt x="703" y="607"/>
                  </a:lnTo>
                  <a:lnTo>
                    <a:pt x="682" y="592"/>
                  </a:lnTo>
                  <a:lnTo>
                    <a:pt x="670" y="579"/>
                  </a:lnTo>
                  <a:lnTo>
                    <a:pt x="662" y="565"/>
                  </a:lnTo>
                  <a:lnTo>
                    <a:pt x="657" y="550"/>
                  </a:lnTo>
                  <a:lnTo>
                    <a:pt x="657" y="535"/>
                  </a:lnTo>
                  <a:lnTo>
                    <a:pt x="662" y="521"/>
                  </a:lnTo>
                  <a:lnTo>
                    <a:pt x="669" y="508"/>
                  </a:lnTo>
                  <a:lnTo>
                    <a:pt x="681" y="497"/>
                  </a:lnTo>
                  <a:lnTo>
                    <a:pt x="697" y="488"/>
                  </a:lnTo>
                  <a:lnTo>
                    <a:pt x="717" y="482"/>
                  </a:lnTo>
                  <a:lnTo>
                    <a:pt x="738" y="479"/>
                  </a:lnTo>
                  <a:lnTo>
                    <a:pt x="778" y="479"/>
                  </a:lnTo>
                  <a:lnTo>
                    <a:pt x="818" y="485"/>
                  </a:lnTo>
                  <a:lnTo>
                    <a:pt x="856" y="495"/>
                  </a:lnTo>
                  <a:lnTo>
                    <a:pt x="893" y="510"/>
                  </a:lnTo>
                  <a:lnTo>
                    <a:pt x="906" y="515"/>
                  </a:lnTo>
                  <a:lnTo>
                    <a:pt x="916" y="516"/>
                  </a:lnTo>
                  <a:lnTo>
                    <a:pt x="923" y="513"/>
                  </a:lnTo>
                  <a:lnTo>
                    <a:pt x="929" y="506"/>
                  </a:lnTo>
                  <a:lnTo>
                    <a:pt x="934" y="493"/>
                  </a:lnTo>
                  <a:lnTo>
                    <a:pt x="946" y="452"/>
                  </a:lnTo>
                  <a:lnTo>
                    <a:pt x="958" y="412"/>
                  </a:lnTo>
                  <a:lnTo>
                    <a:pt x="959" y="399"/>
                  </a:lnTo>
                  <a:lnTo>
                    <a:pt x="957" y="389"/>
                  </a:lnTo>
                  <a:lnTo>
                    <a:pt x="950" y="380"/>
                  </a:lnTo>
                  <a:lnTo>
                    <a:pt x="939" y="374"/>
                  </a:lnTo>
                  <a:lnTo>
                    <a:pt x="908" y="362"/>
                  </a:lnTo>
                  <a:lnTo>
                    <a:pt x="875" y="352"/>
                  </a:lnTo>
                  <a:lnTo>
                    <a:pt x="842" y="345"/>
                  </a:lnTo>
                  <a:lnTo>
                    <a:pt x="826" y="343"/>
                  </a:lnTo>
                  <a:lnTo>
                    <a:pt x="813" y="340"/>
                  </a:lnTo>
                  <a:lnTo>
                    <a:pt x="805" y="335"/>
                  </a:lnTo>
                  <a:lnTo>
                    <a:pt x="800" y="330"/>
                  </a:lnTo>
                  <a:lnTo>
                    <a:pt x="798" y="322"/>
                  </a:lnTo>
                  <a:lnTo>
                    <a:pt x="797" y="310"/>
                  </a:lnTo>
                  <a:lnTo>
                    <a:pt x="797" y="293"/>
                  </a:lnTo>
                  <a:lnTo>
                    <a:pt x="797" y="270"/>
                  </a:lnTo>
                  <a:lnTo>
                    <a:pt x="795" y="253"/>
                  </a:lnTo>
                  <a:lnTo>
                    <a:pt x="792" y="242"/>
                  </a:lnTo>
                  <a:lnTo>
                    <a:pt x="785" y="235"/>
                  </a:lnTo>
                  <a:lnTo>
                    <a:pt x="774" y="231"/>
                  </a:lnTo>
                  <a:lnTo>
                    <a:pt x="757" y="230"/>
                  </a:lnTo>
                  <a:lnTo>
                    <a:pt x="733" y="230"/>
                  </a:lnTo>
                  <a:lnTo>
                    <a:pt x="706" y="230"/>
                  </a:lnTo>
                  <a:close/>
                  <a:moveTo>
                    <a:pt x="733" y="0"/>
                  </a:moveTo>
                  <a:lnTo>
                    <a:pt x="800" y="3"/>
                  </a:lnTo>
                  <a:lnTo>
                    <a:pt x="865" y="11"/>
                  </a:lnTo>
                  <a:lnTo>
                    <a:pt x="928" y="25"/>
                  </a:lnTo>
                  <a:lnTo>
                    <a:pt x="989" y="46"/>
                  </a:lnTo>
                  <a:lnTo>
                    <a:pt x="1047" y="70"/>
                  </a:lnTo>
                  <a:lnTo>
                    <a:pt x="1103" y="99"/>
                  </a:lnTo>
                  <a:lnTo>
                    <a:pt x="1156" y="134"/>
                  </a:lnTo>
                  <a:lnTo>
                    <a:pt x="1205" y="172"/>
                  </a:lnTo>
                  <a:lnTo>
                    <a:pt x="1251" y="214"/>
                  </a:lnTo>
                  <a:lnTo>
                    <a:pt x="1293" y="260"/>
                  </a:lnTo>
                  <a:lnTo>
                    <a:pt x="1332" y="310"/>
                  </a:lnTo>
                  <a:lnTo>
                    <a:pt x="1365" y="363"/>
                  </a:lnTo>
                  <a:lnTo>
                    <a:pt x="1395" y="419"/>
                  </a:lnTo>
                  <a:lnTo>
                    <a:pt x="1420" y="476"/>
                  </a:lnTo>
                  <a:lnTo>
                    <a:pt x="1439" y="537"/>
                  </a:lnTo>
                  <a:lnTo>
                    <a:pt x="1453" y="601"/>
                  </a:lnTo>
                  <a:lnTo>
                    <a:pt x="1462" y="666"/>
                  </a:lnTo>
                  <a:lnTo>
                    <a:pt x="1465" y="732"/>
                  </a:lnTo>
                  <a:lnTo>
                    <a:pt x="1462" y="799"/>
                  </a:lnTo>
                  <a:lnTo>
                    <a:pt x="1453" y="865"/>
                  </a:lnTo>
                  <a:lnTo>
                    <a:pt x="1439" y="928"/>
                  </a:lnTo>
                  <a:lnTo>
                    <a:pt x="1420" y="988"/>
                  </a:lnTo>
                  <a:lnTo>
                    <a:pt x="1395" y="1047"/>
                  </a:lnTo>
                  <a:lnTo>
                    <a:pt x="1365" y="1103"/>
                  </a:lnTo>
                  <a:lnTo>
                    <a:pt x="1332" y="1156"/>
                  </a:lnTo>
                  <a:lnTo>
                    <a:pt x="1293" y="1205"/>
                  </a:lnTo>
                  <a:lnTo>
                    <a:pt x="1251" y="1251"/>
                  </a:lnTo>
                  <a:lnTo>
                    <a:pt x="1205" y="1294"/>
                  </a:lnTo>
                  <a:lnTo>
                    <a:pt x="1156" y="1332"/>
                  </a:lnTo>
                  <a:lnTo>
                    <a:pt x="1103" y="1366"/>
                  </a:lnTo>
                  <a:lnTo>
                    <a:pt x="1047" y="1395"/>
                  </a:lnTo>
                  <a:lnTo>
                    <a:pt x="989" y="1420"/>
                  </a:lnTo>
                  <a:lnTo>
                    <a:pt x="928" y="1440"/>
                  </a:lnTo>
                  <a:lnTo>
                    <a:pt x="865" y="1454"/>
                  </a:lnTo>
                  <a:lnTo>
                    <a:pt x="800" y="1463"/>
                  </a:lnTo>
                  <a:lnTo>
                    <a:pt x="733" y="1466"/>
                  </a:lnTo>
                  <a:lnTo>
                    <a:pt x="667" y="1463"/>
                  </a:lnTo>
                  <a:lnTo>
                    <a:pt x="602" y="1454"/>
                  </a:lnTo>
                  <a:lnTo>
                    <a:pt x="538" y="1440"/>
                  </a:lnTo>
                  <a:lnTo>
                    <a:pt x="477" y="1420"/>
                  </a:lnTo>
                  <a:lnTo>
                    <a:pt x="419" y="1395"/>
                  </a:lnTo>
                  <a:lnTo>
                    <a:pt x="363" y="1366"/>
                  </a:lnTo>
                  <a:lnTo>
                    <a:pt x="310" y="1332"/>
                  </a:lnTo>
                  <a:lnTo>
                    <a:pt x="261" y="1294"/>
                  </a:lnTo>
                  <a:lnTo>
                    <a:pt x="215" y="1251"/>
                  </a:lnTo>
                  <a:lnTo>
                    <a:pt x="173" y="1205"/>
                  </a:lnTo>
                  <a:lnTo>
                    <a:pt x="134" y="1156"/>
                  </a:lnTo>
                  <a:lnTo>
                    <a:pt x="101" y="1103"/>
                  </a:lnTo>
                  <a:lnTo>
                    <a:pt x="71" y="1047"/>
                  </a:lnTo>
                  <a:lnTo>
                    <a:pt x="46" y="988"/>
                  </a:lnTo>
                  <a:lnTo>
                    <a:pt x="27" y="928"/>
                  </a:lnTo>
                  <a:lnTo>
                    <a:pt x="13" y="865"/>
                  </a:lnTo>
                  <a:lnTo>
                    <a:pt x="3" y="799"/>
                  </a:lnTo>
                  <a:lnTo>
                    <a:pt x="0" y="732"/>
                  </a:lnTo>
                  <a:lnTo>
                    <a:pt x="3" y="669"/>
                  </a:lnTo>
                  <a:lnTo>
                    <a:pt x="12" y="606"/>
                  </a:lnTo>
                  <a:lnTo>
                    <a:pt x="25" y="545"/>
                  </a:lnTo>
                  <a:lnTo>
                    <a:pt x="43" y="488"/>
                  </a:lnTo>
                  <a:lnTo>
                    <a:pt x="65" y="431"/>
                  </a:lnTo>
                  <a:lnTo>
                    <a:pt x="93" y="377"/>
                  </a:lnTo>
                  <a:lnTo>
                    <a:pt x="124" y="325"/>
                  </a:lnTo>
                  <a:lnTo>
                    <a:pt x="159" y="277"/>
                  </a:lnTo>
                  <a:lnTo>
                    <a:pt x="199" y="231"/>
                  </a:lnTo>
                  <a:lnTo>
                    <a:pt x="240" y="191"/>
                  </a:lnTo>
                  <a:lnTo>
                    <a:pt x="285" y="153"/>
                  </a:lnTo>
                  <a:lnTo>
                    <a:pt x="333" y="119"/>
                  </a:lnTo>
                  <a:lnTo>
                    <a:pt x="383" y="88"/>
                  </a:lnTo>
                  <a:lnTo>
                    <a:pt x="437" y="62"/>
                  </a:lnTo>
                  <a:lnTo>
                    <a:pt x="493" y="40"/>
                  </a:lnTo>
                  <a:lnTo>
                    <a:pt x="550" y="23"/>
                  </a:lnTo>
                  <a:lnTo>
                    <a:pt x="609" y="10"/>
                  </a:lnTo>
                  <a:lnTo>
                    <a:pt x="671" y="2"/>
                  </a:lnTo>
                  <a:lnTo>
                    <a:pt x="7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1" name="Freeform 91">
            <a:extLst>
              <a:ext uri="{FF2B5EF4-FFF2-40B4-BE49-F238E27FC236}">
                <a16:creationId xmlns:a16="http://schemas.microsoft.com/office/drawing/2014/main" id="{B56879DD-D97C-46ED-8513-115E2C3D300F}"/>
              </a:ext>
            </a:extLst>
          </p:cNvPr>
          <p:cNvSpPr>
            <a:spLocks noEditPoints="1"/>
          </p:cNvSpPr>
          <p:nvPr/>
        </p:nvSpPr>
        <p:spPr bwMode="auto">
          <a:xfrm>
            <a:off x="2865543" y="5282323"/>
            <a:ext cx="317576" cy="325307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41" y="22"/>
              </a:cxn>
              <a:cxn ang="0">
                <a:pos x="45" y="20"/>
              </a:cxn>
              <a:cxn ang="0">
                <a:pos x="49" y="19"/>
              </a:cxn>
              <a:cxn ang="0">
                <a:pos x="48" y="17"/>
              </a:cxn>
              <a:cxn ang="0">
                <a:pos x="45" y="15"/>
              </a:cxn>
              <a:cxn ang="0">
                <a:pos x="43" y="15"/>
              </a:cxn>
              <a:cxn ang="0">
                <a:pos x="42" y="14"/>
              </a:cxn>
              <a:cxn ang="0">
                <a:pos x="38" y="12"/>
              </a:cxn>
              <a:cxn ang="0">
                <a:pos x="38" y="16"/>
              </a:cxn>
              <a:cxn ang="0">
                <a:pos x="37" y="19"/>
              </a:cxn>
              <a:cxn ang="0">
                <a:pos x="33" y="17"/>
              </a:cxn>
              <a:cxn ang="0">
                <a:pos x="29" y="15"/>
              </a:cxn>
              <a:cxn ang="0">
                <a:pos x="30" y="11"/>
              </a:cxn>
              <a:cxn ang="0">
                <a:pos x="35" y="10"/>
              </a:cxn>
              <a:cxn ang="0">
                <a:pos x="34" y="8"/>
              </a:cxn>
              <a:cxn ang="0">
                <a:pos x="31" y="9"/>
              </a:cxn>
              <a:cxn ang="0">
                <a:pos x="27" y="6"/>
              </a:cxn>
              <a:cxn ang="0">
                <a:pos x="28" y="9"/>
              </a:cxn>
              <a:cxn ang="0">
                <a:pos x="26" y="9"/>
              </a:cxn>
              <a:cxn ang="0">
                <a:pos x="23" y="7"/>
              </a:cxn>
              <a:cxn ang="0">
                <a:pos x="21" y="8"/>
              </a:cxn>
              <a:cxn ang="0">
                <a:pos x="23" y="9"/>
              </a:cxn>
              <a:cxn ang="0">
                <a:pos x="22" y="10"/>
              </a:cxn>
              <a:cxn ang="0">
                <a:pos x="10" y="18"/>
              </a:cxn>
              <a:cxn ang="0">
                <a:pos x="11" y="19"/>
              </a:cxn>
              <a:cxn ang="0">
                <a:pos x="13" y="22"/>
              </a:cxn>
              <a:cxn ang="0">
                <a:pos x="12" y="26"/>
              </a:cxn>
              <a:cxn ang="0">
                <a:pos x="15" y="30"/>
              </a:cxn>
              <a:cxn ang="0">
                <a:pos x="18" y="35"/>
              </a:cxn>
              <a:cxn ang="0">
                <a:pos x="19" y="37"/>
              </a:cxn>
              <a:cxn ang="0">
                <a:pos x="17" y="32"/>
              </a:cxn>
              <a:cxn ang="0">
                <a:pos x="21" y="37"/>
              </a:cxn>
              <a:cxn ang="0">
                <a:pos x="25" y="41"/>
              </a:cxn>
              <a:cxn ang="0">
                <a:pos x="30" y="44"/>
              </a:cxn>
              <a:cxn ang="0">
                <a:pos x="35" y="47"/>
              </a:cxn>
              <a:cxn ang="0">
                <a:pos x="36" y="47"/>
              </a:cxn>
              <a:cxn ang="0">
                <a:pos x="34" y="43"/>
              </a:cxn>
              <a:cxn ang="0">
                <a:pos x="32" y="42"/>
              </a:cxn>
              <a:cxn ang="0">
                <a:pos x="32" y="39"/>
              </a:cxn>
              <a:cxn ang="0">
                <a:pos x="28" y="41"/>
              </a:cxn>
              <a:cxn ang="0">
                <a:pos x="27" y="34"/>
              </a:cxn>
              <a:cxn ang="0">
                <a:pos x="30" y="34"/>
              </a:cxn>
              <a:cxn ang="0">
                <a:pos x="32" y="33"/>
              </a:cxn>
              <a:cxn ang="0">
                <a:pos x="35" y="34"/>
              </a:cxn>
              <a:cxn ang="0">
                <a:pos x="36" y="33"/>
              </a:cxn>
              <a:cxn ang="0">
                <a:pos x="38" y="29"/>
              </a:cxn>
              <a:cxn ang="0">
                <a:pos x="38" y="28"/>
              </a:cxn>
              <a:cxn ang="0">
                <a:pos x="41" y="26"/>
              </a:cxn>
              <a:cxn ang="0">
                <a:pos x="43" y="23"/>
              </a:cxn>
              <a:cxn ang="0">
                <a:pos x="44" y="22"/>
              </a:cxn>
              <a:cxn ang="0">
                <a:pos x="41" y="22"/>
              </a:cxn>
              <a:cxn ang="0">
                <a:pos x="48" y="48"/>
              </a:cxn>
              <a:cxn ang="0">
                <a:pos x="44" y="47"/>
              </a:cxn>
              <a:cxn ang="0">
                <a:pos x="41" y="47"/>
              </a:cxn>
              <a:cxn ang="0">
                <a:pos x="38" y="46"/>
              </a:cxn>
              <a:cxn ang="0">
                <a:pos x="37" y="50"/>
              </a:cxn>
              <a:cxn ang="0">
                <a:pos x="36" y="54"/>
              </a:cxn>
              <a:cxn ang="0">
                <a:pos x="50" y="49"/>
              </a:cxn>
            </a:cxnLst>
            <a:rect l="0" t="0" r="r" b="b"/>
            <a:pathLst>
              <a:path w="62" h="62">
                <a:moveTo>
                  <a:pt x="62" y="31"/>
                </a:moveTo>
                <a:cubicBezTo>
                  <a:pt x="62" y="48"/>
                  <a:pt x="48" y="62"/>
                  <a:pt x="31" y="62"/>
                </a:cubicBezTo>
                <a:cubicBezTo>
                  <a:pt x="14" y="62"/>
                  <a:pt x="0" y="48"/>
                  <a:pt x="0" y="31"/>
                </a:cubicBezTo>
                <a:cubicBezTo>
                  <a:pt x="0" y="14"/>
                  <a:pt x="14" y="0"/>
                  <a:pt x="31" y="0"/>
                </a:cubicBezTo>
                <a:cubicBezTo>
                  <a:pt x="48" y="0"/>
                  <a:pt x="62" y="14"/>
                  <a:pt x="62" y="31"/>
                </a:cubicBezTo>
                <a:close/>
                <a:moveTo>
                  <a:pt x="41" y="22"/>
                </a:moveTo>
                <a:cubicBezTo>
                  <a:pt x="42" y="22"/>
                  <a:pt x="42" y="21"/>
                  <a:pt x="42" y="21"/>
                </a:cubicBezTo>
                <a:cubicBezTo>
                  <a:pt x="42" y="21"/>
                  <a:pt x="42" y="21"/>
                  <a:pt x="43" y="21"/>
                </a:cubicBezTo>
                <a:cubicBezTo>
                  <a:pt x="43" y="20"/>
                  <a:pt x="44" y="20"/>
                  <a:pt x="45" y="20"/>
                </a:cubicBezTo>
                <a:cubicBezTo>
                  <a:pt x="46" y="20"/>
                  <a:pt x="46" y="20"/>
                  <a:pt x="47" y="21"/>
                </a:cubicBezTo>
                <a:cubicBezTo>
                  <a:pt x="47" y="20"/>
                  <a:pt x="48" y="20"/>
                  <a:pt x="48" y="20"/>
                </a:cubicBezTo>
                <a:cubicBezTo>
                  <a:pt x="48" y="19"/>
                  <a:pt x="49" y="19"/>
                  <a:pt x="49" y="19"/>
                </a:cubicBezTo>
                <a:cubicBezTo>
                  <a:pt x="49" y="19"/>
                  <a:pt x="49" y="18"/>
                  <a:pt x="49" y="18"/>
                </a:cubicBezTo>
                <a:cubicBezTo>
                  <a:pt x="49" y="18"/>
                  <a:pt x="48" y="18"/>
                  <a:pt x="48" y="17"/>
                </a:cubicBezTo>
                <a:cubicBezTo>
                  <a:pt x="48" y="17"/>
                  <a:pt x="48" y="17"/>
                  <a:pt x="48" y="17"/>
                </a:cubicBezTo>
                <a:cubicBezTo>
                  <a:pt x="48" y="17"/>
                  <a:pt x="47" y="17"/>
                  <a:pt x="47" y="17"/>
                </a:cubicBezTo>
                <a:cubicBezTo>
                  <a:pt x="46" y="17"/>
                  <a:pt x="46" y="16"/>
                  <a:pt x="46" y="16"/>
                </a:cubicBezTo>
                <a:cubicBezTo>
                  <a:pt x="46" y="15"/>
                  <a:pt x="45" y="15"/>
                  <a:pt x="45" y="15"/>
                </a:cubicBezTo>
                <a:cubicBezTo>
                  <a:pt x="45" y="15"/>
                  <a:pt x="45" y="14"/>
                  <a:pt x="45" y="14"/>
                </a:cubicBezTo>
                <a:cubicBezTo>
                  <a:pt x="44" y="14"/>
                  <a:pt x="44" y="15"/>
                  <a:pt x="44" y="15"/>
                </a:cubicBezTo>
                <a:cubicBezTo>
                  <a:pt x="43" y="15"/>
                  <a:pt x="43" y="15"/>
                  <a:pt x="43" y="15"/>
                </a:cubicBezTo>
                <a:cubicBezTo>
                  <a:pt x="43" y="15"/>
                  <a:pt x="43" y="15"/>
                  <a:pt x="42" y="15"/>
                </a:cubicBezTo>
                <a:cubicBezTo>
                  <a:pt x="43" y="15"/>
                  <a:pt x="42" y="15"/>
                  <a:pt x="42" y="15"/>
                </a:cubicBezTo>
                <a:cubicBezTo>
                  <a:pt x="42" y="14"/>
                  <a:pt x="42" y="14"/>
                  <a:pt x="42" y="14"/>
                </a:cubicBezTo>
                <a:cubicBezTo>
                  <a:pt x="42" y="14"/>
                  <a:pt x="42" y="14"/>
                  <a:pt x="42" y="14"/>
                </a:cubicBezTo>
                <a:cubicBezTo>
                  <a:pt x="42" y="13"/>
                  <a:pt x="41" y="13"/>
                  <a:pt x="40" y="13"/>
                </a:cubicBezTo>
                <a:cubicBezTo>
                  <a:pt x="40" y="12"/>
                  <a:pt x="38" y="12"/>
                  <a:pt x="38" y="12"/>
                </a:cubicBezTo>
                <a:cubicBezTo>
                  <a:pt x="37" y="13"/>
                  <a:pt x="38" y="13"/>
                  <a:pt x="38" y="14"/>
                </a:cubicBezTo>
                <a:cubicBezTo>
                  <a:pt x="38" y="14"/>
                  <a:pt x="37" y="14"/>
                  <a:pt x="37" y="15"/>
                </a:cubicBezTo>
                <a:cubicBezTo>
                  <a:pt x="37" y="15"/>
                  <a:pt x="38" y="15"/>
                  <a:pt x="38" y="16"/>
                </a:cubicBezTo>
                <a:cubicBezTo>
                  <a:pt x="38" y="17"/>
                  <a:pt x="37" y="17"/>
                  <a:pt x="37" y="17"/>
                </a:cubicBezTo>
                <a:cubicBezTo>
                  <a:pt x="37" y="18"/>
                  <a:pt x="37" y="18"/>
                  <a:pt x="37" y="19"/>
                </a:cubicBezTo>
                <a:cubicBezTo>
                  <a:pt x="38" y="19"/>
                  <a:pt x="37" y="19"/>
                  <a:pt x="37" y="19"/>
                </a:cubicBezTo>
                <a:cubicBezTo>
                  <a:pt x="36" y="20"/>
                  <a:pt x="35" y="19"/>
                  <a:pt x="35" y="18"/>
                </a:cubicBezTo>
                <a:cubicBezTo>
                  <a:pt x="35" y="18"/>
                  <a:pt x="35" y="17"/>
                  <a:pt x="34" y="17"/>
                </a:cubicBezTo>
                <a:cubicBezTo>
                  <a:pt x="34" y="17"/>
                  <a:pt x="33" y="17"/>
                  <a:pt x="33" y="17"/>
                </a:cubicBezTo>
                <a:cubicBezTo>
                  <a:pt x="33" y="16"/>
                  <a:pt x="32" y="16"/>
                  <a:pt x="32" y="16"/>
                </a:cubicBezTo>
                <a:cubicBezTo>
                  <a:pt x="31" y="16"/>
                  <a:pt x="30" y="16"/>
                  <a:pt x="29" y="16"/>
                </a:cubicBezTo>
                <a:cubicBezTo>
                  <a:pt x="30" y="16"/>
                  <a:pt x="29" y="15"/>
                  <a:pt x="29" y="15"/>
                </a:cubicBezTo>
                <a:cubicBezTo>
                  <a:pt x="29" y="14"/>
                  <a:pt x="29" y="14"/>
                  <a:pt x="29" y="14"/>
                </a:cubicBezTo>
                <a:cubicBezTo>
                  <a:pt x="29" y="13"/>
                  <a:pt x="29" y="13"/>
                  <a:pt x="29" y="13"/>
                </a:cubicBezTo>
                <a:cubicBezTo>
                  <a:pt x="29" y="12"/>
                  <a:pt x="30" y="11"/>
                  <a:pt x="30" y="11"/>
                </a:cubicBezTo>
                <a:cubicBezTo>
                  <a:pt x="31" y="12"/>
                  <a:pt x="31" y="12"/>
                  <a:pt x="32" y="11"/>
                </a:cubicBezTo>
                <a:cubicBezTo>
                  <a:pt x="32" y="11"/>
                  <a:pt x="32" y="10"/>
                  <a:pt x="33" y="10"/>
                </a:cubicBezTo>
                <a:cubicBezTo>
                  <a:pt x="33" y="9"/>
                  <a:pt x="34" y="10"/>
                  <a:pt x="35" y="10"/>
                </a:cubicBezTo>
                <a:cubicBezTo>
                  <a:pt x="35" y="10"/>
                  <a:pt x="35" y="9"/>
                  <a:pt x="35" y="9"/>
                </a:cubicBezTo>
                <a:cubicBezTo>
                  <a:pt x="35" y="9"/>
                  <a:pt x="35" y="8"/>
                  <a:pt x="35" y="8"/>
                </a:cubicBezTo>
                <a:cubicBezTo>
                  <a:pt x="34" y="7"/>
                  <a:pt x="33" y="8"/>
                  <a:pt x="34" y="8"/>
                </a:cubicBezTo>
                <a:cubicBezTo>
                  <a:pt x="34" y="8"/>
                  <a:pt x="33" y="10"/>
                  <a:pt x="32" y="9"/>
                </a:cubicBezTo>
                <a:cubicBezTo>
                  <a:pt x="32" y="9"/>
                  <a:pt x="32" y="8"/>
                  <a:pt x="31" y="8"/>
                </a:cubicBezTo>
                <a:cubicBezTo>
                  <a:pt x="31" y="8"/>
                  <a:pt x="31" y="8"/>
                  <a:pt x="31" y="9"/>
                </a:cubicBezTo>
                <a:cubicBezTo>
                  <a:pt x="31" y="8"/>
                  <a:pt x="30" y="8"/>
                  <a:pt x="29" y="8"/>
                </a:cubicBezTo>
                <a:cubicBezTo>
                  <a:pt x="30" y="7"/>
                  <a:pt x="29" y="7"/>
                  <a:pt x="29" y="7"/>
                </a:cubicBezTo>
                <a:cubicBezTo>
                  <a:pt x="29" y="6"/>
                  <a:pt x="28" y="6"/>
                  <a:pt x="27" y="6"/>
                </a:cubicBezTo>
                <a:cubicBezTo>
                  <a:pt x="27" y="7"/>
                  <a:pt x="28" y="8"/>
                  <a:pt x="29" y="8"/>
                </a:cubicBezTo>
                <a:cubicBezTo>
                  <a:pt x="29" y="8"/>
                  <a:pt x="29" y="8"/>
                  <a:pt x="29" y="8"/>
                </a:cubicBezTo>
                <a:cubicBezTo>
                  <a:pt x="29" y="8"/>
                  <a:pt x="28" y="9"/>
                  <a:pt x="28" y="9"/>
                </a:cubicBezTo>
                <a:cubicBezTo>
                  <a:pt x="28" y="9"/>
                  <a:pt x="28" y="10"/>
                  <a:pt x="28" y="10"/>
                </a:cubicBezTo>
                <a:cubicBezTo>
                  <a:pt x="27" y="10"/>
                  <a:pt x="27" y="9"/>
                  <a:pt x="27" y="9"/>
                </a:cubicBezTo>
                <a:cubicBezTo>
                  <a:pt x="28" y="9"/>
                  <a:pt x="26" y="9"/>
                  <a:pt x="26" y="9"/>
                </a:cubicBezTo>
                <a:cubicBezTo>
                  <a:pt x="25" y="9"/>
                  <a:pt x="24" y="9"/>
                  <a:pt x="24" y="9"/>
                </a:cubicBezTo>
                <a:cubicBezTo>
                  <a:pt x="24" y="8"/>
                  <a:pt x="24" y="7"/>
                  <a:pt x="24" y="8"/>
                </a:cubicBezTo>
                <a:cubicBezTo>
                  <a:pt x="24" y="7"/>
                  <a:pt x="23" y="7"/>
                  <a:pt x="23" y="7"/>
                </a:cubicBezTo>
                <a:cubicBezTo>
                  <a:pt x="22" y="7"/>
                  <a:pt x="21" y="8"/>
                  <a:pt x="19" y="9"/>
                </a:cubicBezTo>
                <a:cubicBezTo>
                  <a:pt x="19" y="9"/>
                  <a:pt x="20" y="9"/>
                  <a:pt x="20" y="9"/>
                </a:cubicBezTo>
                <a:cubicBezTo>
                  <a:pt x="20" y="8"/>
                  <a:pt x="20" y="8"/>
                  <a:pt x="21" y="8"/>
                </a:cubicBezTo>
                <a:cubicBezTo>
                  <a:pt x="21" y="8"/>
                  <a:pt x="22" y="7"/>
                  <a:pt x="22" y="8"/>
                </a:cubicBezTo>
                <a:cubicBezTo>
                  <a:pt x="22" y="8"/>
                  <a:pt x="23" y="8"/>
                  <a:pt x="23" y="8"/>
                </a:cubicBezTo>
                <a:cubicBezTo>
                  <a:pt x="23" y="8"/>
                  <a:pt x="23" y="8"/>
                  <a:pt x="23" y="9"/>
                </a:cubicBezTo>
                <a:cubicBezTo>
                  <a:pt x="23" y="8"/>
                  <a:pt x="23" y="9"/>
                  <a:pt x="22" y="9"/>
                </a:cubicBezTo>
                <a:cubicBezTo>
                  <a:pt x="22" y="9"/>
                  <a:pt x="21" y="9"/>
                  <a:pt x="21" y="9"/>
                </a:cubicBezTo>
                <a:cubicBezTo>
                  <a:pt x="21" y="9"/>
                  <a:pt x="22" y="10"/>
                  <a:pt x="22" y="10"/>
                </a:cubicBezTo>
                <a:cubicBezTo>
                  <a:pt x="21" y="9"/>
                  <a:pt x="21" y="9"/>
                  <a:pt x="20" y="9"/>
                </a:cubicBezTo>
                <a:cubicBezTo>
                  <a:pt x="20" y="9"/>
                  <a:pt x="19" y="9"/>
                  <a:pt x="19" y="9"/>
                </a:cubicBezTo>
                <a:cubicBezTo>
                  <a:pt x="15" y="11"/>
                  <a:pt x="12" y="14"/>
                  <a:pt x="10" y="18"/>
                </a:cubicBezTo>
                <a:cubicBezTo>
                  <a:pt x="10" y="18"/>
                  <a:pt x="10" y="18"/>
                  <a:pt x="10" y="18"/>
                </a:cubicBezTo>
                <a:cubicBezTo>
                  <a:pt x="10" y="18"/>
                  <a:pt x="10" y="19"/>
                  <a:pt x="11" y="19"/>
                </a:cubicBezTo>
                <a:cubicBezTo>
                  <a:pt x="11" y="19"/>
                  <a:pt x="11" y="19"/>
                  <a:pt x="11" y="19"/>
                </a:cubicBezTo>
                <a:cubicBezTo>
                  <a:pt x="11" y="19"/>
                  <a:pt x="13" y="20"/>
                  <a:pt x="13" y="21"/>
                </a:cubicBezTo>
                <a:cubicBezTo>
                  <a:pt x="13" y="21"/>
                  <a:pt x="13" y="21"/>
                  <a:pt x="14" y="21"/>
                </a:cubicBezTo>
                <a:cubicBezTo>
                  <a:pt x="14" y="22"/>
                  <a:pt x="13" y="22"/>
                  <a:pt x="13" y="22"/>
                </a:cubicBezTo>
                <a:cubicBezTo>
                  <a:pt x="13" y="22"/>
                  <a:pt x="12" y="21"/>
                  <a:pt x="12" y="22"/>
                </a:cubicBezTo>
                <a:cubicBezTo>
                  <a:pt x="12" y="22"/>
                  <a:pt x="12" y="23"/>
                  <a:pt x="13" y="23"/>
                </a:cubicBezTo>
                <a:cubicBezTo>
                  <a:pt x="12" y="23"/>
                  <a:pt x="12" y="25"/>
                  <a:pt x="12" y="26"/>
                </a:cubicBezTo>
                <a:cubicBezTo>
                  <a:pt x="12" y="26"/>
                  <a:pt x="12" y="26"/>
                  <a:pt x="12" y="26"/>
                </a:cubicBezTo>
                <a:cubicBezTo>
                  <a:pt x="12" y="26"/>
                  <a:pt x="13" y="28"/>
                  <a:pt x="13" y="28"/>
                </a:cubicBezTo>
                <a:cubicBezTo>
                  <a:pt x="13" y="28"/>
                  <a:pt x="14" y="30"/>
                  <a:pt x="15" y="30"/>
                </a:cubicBezTo>
                <a:cubicBezTo>
                  <a:pt x="15" y="30"/>
                  <a:pt x="16" y="31"/>
                  <a:pt x="16" y="31"/>
                </a:cubicBezTo>
                <a:cubicBezTo>
                  <a:pt x="17" y="32"/>
                  <a:pt x="17" y="33"/>
                  <a:pt x="17" y="33"/>
                </a:cubicBezTo>
                <a:cubicBezTo>
                  <a:pt x="17" y="34"/>
                  <a:pt x="18" y="34"/>
                  <a:pt x="18" y="35"/>
                </a:cubicBezTo>
                <a:cubicBezTo>
                  <a:pt x="18" y="35"/>
                  <a:pt x="18" y="35"/>
                  <a:pt x="18" y="35"/>
                </a:cubicBezTo>
                <a:cubicBezTo>
                  <a:pt x="18" y="35"/>
                  <a:pt x="19" y="35"/>
                  <a:pt x="19" y="36"/>
                </a:cubicBezTo>
                <a:cubicBezTo>
                  <a:pt x="19" y="36"/>
                  <a:pt x="19" y="37"/>
                  <a:pt x="19" y="37"/>
                </a:cubicBezTo>
                <a:cubicBezTo>
                  <a:pt x="20" y="36"/>
                  <a:pt x="19" y="35"/>
                  <a:pt x="18" y="34"/>
                </a:cubicBezTo>
                <a:cubicBezTo>
                  <a:pt x="18" y="34"/>
                  <a:pt x="18" y="34"/>
                  <a:pt x="18" y="33"/>
                </a:cubicBezTo>
                <a:cubicBezTo>
                  <a:pt x="18" y="33"/>
                  <a:pt x="18" y="32"/>
                  <a:pt x="17" y="32"/>
                </a:cubicBezTo>
                <a:cubicBezTo>
                  <a:pt x="18" y="32"/>
                  <a:pt x="18" y="32"/>
                  <a:pt x="18" y="33"/>
                </a:cubicBezTo>
                <a:cubicBezTo>
                  <a:pt x="18" y="33"/>
                  <a:pt x="20" y="35"/>
                  <a:pt x="20" y="35"/>
                </a:cubicBezTo>
                <a:cubicBezTo>
                  <a:pt x="20" y="35"/>
                  <a:pt x="21" y="37"/>
                  <a:pt x="21" y="37"/>
                </a:cubicBezTo>
                <a:cubicBezTo>
                  <a:pt x="21" y="37"/>
                  <a:pt x="22" y="37"/>
                  <a:pt x="22" y="38"/>
                </a:cubicBezTo>
                <a:cubicBezTo>
                  <a:pt x="22" y="38"/>
                  <a:pt x="22" y="39"/>
                  <a:pt x="23" y="40"/>
                </a:cubicBezTo>
                <a:cubicBezTo>
                  <a:pt x="23" y="41"/>
                  <a:pt x="24" y="41"/>
                  <a:pt x="25" y="41"/>
                </a:cubicBezTo>
                <a:cubicBezTo>
                  <a:pt x="25" y="42"/>
                  <a:pt x="26" y="42"/>
                  <a:pt x="26" y="42"/>
                </a:cubicBezTo>
                <a:cubicBezTo>
                  <a:pt x="27" y="43"/>
                  <a:pt x="27" y="42"/>
                  <a:pt x="28" y="42"/>
                </a:cubicBezTo>
                <a:cubicBezTo>
                  <a:pt x="29" y="42"/>
                  <a:pt x="29" y="43"/>
                  <a:pt x="30" y="44"/>
                </a:cubicBezTo>
                <a:cubicBezTo>
                  <a:pt x="31" y="44"/>
                  <a:pt x="32" y="44"/>
                  <a:pt x="32" y="44"/>
                </a:cubicBezTo>
                <a:cubicBezTo>
                  <a:pt x="32" y="44"/>
                  <a:pt x="33" y="46"/>
                  <a:pt x="33" y="46"/>
                </a:cubicBezTo>
                <a:cubicBezTo>
                  <a:pt x="34" y="46"/>
                  <a:pt x="34" y="47"/>
                  <a:pt x="35" y="47"/>
                </a:cubicBezTo>
                <a:cubicBezTo>
                  <a:pt x="35" y="47"/>
                  <a:pt x="35" y="47"/>
                  <a:pt x="35" y="47"/>
                </a:cubicBezTo>
                <a:cubicBezTo>
                  <a:pt x="35" y="47"/>
                  <a:pt x="36" y="48"/>
                  <a:pt x="36" y="48"/>
                </a:cubicBezTo>
                <a:cubicBezTo>
                  <a:pt x="36" y="48"/>
                  <a:pt x="36" y="47"/>
                  <a:pt x="36" y="47"/>
                </a:cubicBezTo>
                <a:cubicBezTo>
                  <a:pt x="36" y="47"/>
                  <a:pt x="35" y="47"/>
                  <a:pt x="34" y="46"/>
                </a:cubicBezTo>
                <a:cubicBezTo>
                  <a:pt x="34" y="46"/>
                  <a:pt x="34" y="45"/>
                  <a:pt x="34" y="45"/>
                </a:cubicBezTo>
                <a:cubicBezTo>
                  <a:pt x="35" y="45"/>
                  <a:pt x="35" y="44"/>
                  <a:pt x="34" y="43"/>
                </a:cubicBezTo>
                <a:cubicBezTo>
                  <a:pt x="34" y="43"/>
                  <a:pt x="34" y="43"/>
                  <a:pt x="34" y="42"/>
                </a:cubicBezTo>
                <a:cubicBezTo>
                  <a:pt x="33" y="43"/>
                  <a:pt x="33" y="42"/>
                  <a:pt x="32" y="42"/>
                </a:cubicBezTo>
                <a:cubicBezTo>
                  <a:pt x="32" y="42"/>
                  <a:pt x="32" y="42"/>
                  <a:pt x="32" y="42"/>
                </a:cubicBezTo>
                <a:cubicBezTo>
                  <a:pt x="32" y="42"/>
                  <a:pt x="32" y="43"/>
                  <a:pt x="32" y="42"/>
                </a:cubicBezTo>
                <a:cubicBezTo>
                  <a:pt x="32" y="42"/>
                  <a:pt x="32" y="41"/>
                  <a:pt x="32" y="41"/>
                </a:cubicBezTo>
                <a:cubicBezTo>
                  <a:pt x="32" y="40"/>
                  <a:pt x="33" y="39"/>
                  <a:pt x="32" y="39"/>
                </a:cubicBezTo>
                <a:cubicBezTo>
                  <a:pt x="31" y="39"/>
                  <a:pt x="31" y="39"/>
                  <a:pt x="31" y="40"/>
                </a:cubicBezTo>
                <a:cubicBezTo>
                  <a:pt x="30" y="40"/>
                  <a:pt x="30" y="40"/>
                  <a:pt x="30" y="41"/>
                </a:cubicBezTo>
                <a:cubicBezTo>
                  <a:pt x="30" y="41"/>
                  <a:pt x="28" y="41"/>
                  <a:pt x="28" y="41"/>
                </a:cubicBezTo>
                <a:cubicBezTo>
                  <a:pt x="27" y="40"/>
                  <a:pt x="27" y="39"/>
                  <a:pt x="27" y="38"/>
                </a:cubicBezTo>
                <a:cubicBezTo>
                  <a:pt x="27" y="37"/>
                  <a:pt x="27" y="36"/>
                  <a:pt x="27" y="35"/>
                </a:cubicBezTo>
                <a:cubicBezTo>
                  <a:pt x="27" y="35"/>
                  <a:pt x="27" y="34"/>
                  <a:pt x="27" y="34"/>
                </a:cubicBezTo>
                <a:cubicBezTo>
                  <a:pt x="28" y="34"/>
                  <a:pt x="28" y="34"/>
                  <a:pt x="28" y="34"/>
                </a:cubicBezTo>
                <a:cubicBezTo>
                  <a:pt x="28" y="34"/>
                  <a:pt x="28" y="34"/>
                  <a:pt x="28" y="34"/>
                </a:cubicBezTo>
                <a:cubicBezTo>
                  <a:pt x="28" y="34"/>
                  <a:pt x="29" y="33"/>
                  <a:pt x="30" y="34"/>
                </a:cubicBezTo>
                <a:cubicBezTo>
                  <a:pt x="30" y="34"/>
                  <a:pt x="31" y="34"/>
                  <a:pt x="31" y="33"/>
                </a:cubicBezTo>
                <a:cubicBezTo>
                  <a:pt x="31" y="33"/>
                  <a:pt x="31" y="33"/>
                  <a:pt x="31" y="33"/>
                </a:cubicBezTo>
                <a:cubicBezTo>
                  <a:pt x="31" y="33"/>
                  <a:pt x="31" y="33"/>
                  <a:pt x="32" y="33"/>
                </a:cubicBezTo>
                <a:cubicBezTo>
                  <a:pt x="32" y="33"/>
                  <a:pt x="33" y="33"/>
                  <a:pt x="33" y="33"/>
                </a:cubicBezTo>
                <a:cubicBezTo>
                  <a:pt x="34" y="34"/>
                  <a:pt x="34" y="34"/>
                  <a:pt x="34" y="33"/>
                </a:cubicBezTo>
                <a:cubicBezTo>
                  <a:pt x="35" y="34"/>
                  <a:pt x="35" y="34"/>
                  <a:pt x="35" y="34"/>
                </a:cubicBezTo>
                <a:cubicBezTo>
                  <a:pt x="35" y="35"/>
                  <a:pt x="35" y="36"/>
                  <a:pt x="36" y="36"/>
                </a:cubicBezTo>
                <a:cubicBezTo>
                  <a:pt x="36" y="37"/>
                  <a:pt x="36" y="35"/>
                  <a:pt x="36" y="35"/>
                </a:cubicBezTo>
                <a:cubicBezTo>
                  <a:pt x="36" y="35"/>
                  <a:pt x="36" y="33"/>
                  <a:pt x="36" y="33"/>
                </a:cubicBezTo>
                <a:cubicBezTo>
                  <a:pt x="35" y="33"/>
                  <a:pt x="35" y="32"/>
                  <a:pt x="36" y="31"/>
                </a:cubicBezTo>
                <a:cubicBezTo>
                  <a:pt x="36" y="31"/>
                  <a:pt x="37" y="31"/>
                  <a:pt x="37" y="31"/>
                </a:cubicBezTo>
                <a:cubicBezTo>
                  <a:pt x="38" y="30"/>
                  <a:pt x="38" y="30"/>
                  <a:pt x="38" y="29"/>
                </a:cubicBezTo>
                <a:cubicBezTo>
                  <a:pt x="38" y="29"/>
                  <a:pt x="38" y="29"/>
                  <a:pt x="38" y="29"/>
                </a:cubicBezTo>
                <a:cubicBezTo>
                  <a:pt x="38" y="29"/>
                  <a:pt x="38" y="28"/>
                  <a:pt x="38" y="29"/>
                </a:cubicBezTo>
                <a:cubicBezTo>
                  <a:pt x="38" y="28"/>
                  <a:pt x="38" y="28"/>
                  <a:pt x="38" y="28"/>
                </a:cubicBezTo>
                <a:cubicBezTo>
                  <a:pt x="38" y="28"/>
                  <a:pt x="38" y="27"/>
                  <a:pt x="38" y="27"/>
                </a:cubicBezTo>
                <a:cubicBezTo>
                  <a:pt x="39" y="28"/>
                  <a:pt x="40" y="27"/>
                  <a:pt x="39" y="26"/>
                </a:cubicBezTo>
                <a:cubicBezTo>
                  <a:pt x="40" y="26"/>
                  <a:pt x="41" y="26"/>
                  <a:pt x="41" y="26"/>
                </a:cubicBezTo>
                <a:cubicBezTo>
                  <a:pt x="41" y="26"/>
                  <a:pt x="41" y="25"/>
                  <a:pt x="41" y="25"/>
                </a:cubicBezTo>
                <a:cubicBezTo>
                  <a:pt x="42" y="24"/>
                  <a:pt x="42" y="24"/>
                  <a:pt x="42" y="24"/>
                </a:cubicBezTo>
                <a:cubicBezTo>
                  <a:pt x="42" y="24"/>
                  <a:pt x="43" y="24"/>
                  <a:pt x="43" y="23"/>
                </a:cubicBezTo>
                <a:cubicBezTo>
                  <a:pt x="44" y="24"/>
                  <a:pt x="45" y="23"/>
                  <a:pt x="44" y="22"/>
                </a:cubicBezTo>
                <a:cubicBezTo>
                  <a:pt x="44" y="22"/>
                  <a:pt x="44" y="22"/>
                  <a:pt x="43" y="22"/>
                </a:cubicBezTo>
                <a:cubicBezTo>
                  <a:pt x="44" y="22"/>
                  <a:pt x="44" y="22"/>
                  <a:pt x="44" y="22"/>
                </a:cubicBezTo>
                <a:cubicBezTo>
                  <a:pt x="45" y="21"/>
                  <a:pt x="44" y="21"/>
                  <a:pt x="44" y="21"/>
                </a:cubicBezTo>
                <a:cubicBezTo>
                  <a:pt x="43" y="21"/>
                  <a:pt x="43" y="21"/>
                  <a:pt x="42" y="21"/>
                </a:cubicBezTo>
                <a:cubicBezTo>
                  <a:pt x="42" y="22"/>
                  <a:pt x="42" y="22"/>
                  <a:pt x="41" y="22"/>
                </a:cubicBezTo>
                <a:close/>
                <a:moveTo>
                  <a:pt x="50" y="49"/>
                </a:moveTo>
                <a:cubicBezTo>
                  <a:pt x="50" y="49"/>
                  <a:pt x="49" y="49"/>
                  <a:pt x="49" y="49"/>
                </a:cubicBezTo>
                <a:cubicBezTo>
                  <a:pt x="49" y="49"/>
                  <a:pt x="48" y="48"/>
                  <a:pt x="48" y="48"/>
                </a:cubicBezTo>
                <a:cubicBezTo>
                  <a:pt x="48" y="48"/>
                  <a:pt x="47" y="47"/>
                  <a:pt x="47" y="47"/>
                </a:cubicBezTo>
                <a:cubicBezTo>
                  <a:pt x="46" y="46"/>
                  <a:pt x="46" y="46"/>
                  <a:pt x="45" y="46"/>
                </a:cubicBezTo>
                <a:cubicBezTo>
                  <a:pt x="45" y="46"/>
                  <a:pt x="44" y="47"/>
                  <a:pt x="44" y="47"/>
                </a:cubicBezTo>
                <a:cubicBezTo>
                  <a:pt x="44" y="46"/>
                  <a:pt x="43" y="46"/>
                  <a:pt x="43" y="46"/>
                </a:cubicBezTo>
                <a:cubicBezTo>
                  <a:pt x="42" y="46"/>
                  <a:pt x="42" y="45"/>
                  <a:pt x="41" y="46"/>
                </a:cubicBezTo>
                <a:cubicBezTo>
                  <a:pt x="41" y="46"/>
                  <a:pt x="41" y="46"/>
                  <a:pt x="41" y="47"/>
                </a:cubicBezTo>
                <a:cubicBezTo>
                  <a:pt x="40" y="46"/>
                  <a:pt x="41" y="46"/>
                  <a:pt x="41" y="45"/>
                </a:cubicBezTo>
                <a:cubicBezTo>
                  <a:pt x="40" y="45"/>
                  <a:pt x="39" y="46"/>
                  <a:pt x="39" y="46"/>
                </a:cubicBezTo>
                <a:cubicBezTo>
                  <a:pt x="39" y="46"/>
                  <a:pt x="39" y="46"/>
                  <a:pt x="38" y="46"/>
                </a:cubicBezTo>
                <a:cubicBezTo>
                  <a:pt x="38" y="47"/>
                  <a:pt x="38" y="47"/>
                  <a:pt x="38" y="47"/>
                </a:cubicBezTo>
                <a:cubicBezTo>
                  <a:pt x="38" y="47"/>
                  <a:pt x="37" y="47"/>
                  <a:pt x="37" y="47"/>
                </a:cubicBezTo>
                <a:cubicBezTo>
                  <a:pt x="37" y="48"/>
                  <a:pt x="37" y="49"/>
                  <a:pt x="37" y="50"/>
                </a:cubicBezTo>
                <a:cubicBezTo>
                  <a:pt x="38" y="50"/>
                  <a:pt x="37" y="51"/>
                  <a:pt x="37" y="52"/>
                </a:cubicBezTo>
                <a:cubicBezTo>
                  <a:pt x="37" y="52"/>
                  <a:pt x="36" y="53"/>
                  <a:pt x="36" y="53"/>
                </a:cubicBezTo>
                <a:cubicBezTo>
                  <a:pt x="36" y="54"/>
                  <a:pt x="36" y="54"/>
                  <a:pt x="36" y="54"/>
                </a:cubicBezTo>
                <a:cubicBezTo>
                  <a:pt x="36" y="55"/>
                  <a:pt x="36" y="55"/>
                  <a:pt x="36" y="56"/>
                </a:cubicBezTo>
                <a:cubicBezTo>
                  <a:pt x="36" y="56"/>
                  <a:pt x="36" y="56"/>
                  <a:pt x="36" y="57"/>
                </a:cubicBezTo>
                <a:cubicBezTo>
                  <a:pt x="41" y="56"/>
                  <a:pt x="46" y="53"/>
                  <a:pt x="50" y="4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32" name="Group 36">
            <a:extLst>
              <a:ext uri="{FF2B5EF4-FFF2-40B4-BE49-F238E27FC236}">
                <a16:creationId xmlns:a16="http://schemas.microsoft.com/office/drawing/2014/main" id="{3F9F9BD7-EA73-DBE1-B197-99B3A31F0CB3}"/>
              </a:ext>
            </a:extLst>
          </p:cNvPr>
          <p:cNvGrpSpPr/>
          <p:nvPr/>
        </p:nvGrpSpPr>
        <p:grpSpPr>
          <a:xfrm>
            <a:off x="1071583" y="3407593"/>
            <a:ext cx="767153" cy="791222"/>
            <a:chOff x="8830938" y="1994887"/>
            <a:chExt cx="3457783" cy="3497424"/>
          </a:xfrm>
          <a:solidFill>
            <a:schemeClr val="bg2">
              <a:lumMod val="50000"/>
            </a:schemeClr>
          </a:solidFill>
        </p:grpSpPr>
        <p:sp>
          <p:nvSpPr>
            <p:cNvPr id="233" name="Freeform 325">
              <a:extLst>
                <a:ext uri="{FF2B5EF4-FFF2-40B4-BE49-F238E27FC236}">
                  <a16:creationId xmlns:a16="http://schemas.microsoft.com/office/drawing/2014/main" id="{99F5F94E-B8A8-1D9A-E3B3-A2EC74D450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30938" y="3204841"/>
              <a:ext cx="1959530" cy="577498"/>
            </a:xfrm>
            <a:custGeom>
              <a:avLst/>
              <a:gdLst>
                <a:gd name="T0" fmla="*/ 218 w 2175"/>
                <a:gd name="T1" fmla="*/ 128 h 641"/>
                <a:gd name="T2" fmla="*/ 365 w 2175"/>
                <a:gd name="T3" fmla="*/ 276 h 641"/>
                <a:gd name="T4" fmla="*/ 376 w 2175"/>
                <a:gd name="T5" fmla="*/ 289 h 641"/>
                <a:gd name="T6" fmla="*/ 382 w 2175"/>
                <a:gd name="T7" fmla="*/ 304 h 641"/>
                <a:gd name="T8" fmla="*/ 384 w 2175"/>
                <a:gd name="T9" fmla="*/ 320 h 641"/>
                <a:gd name="T10" fmla="*/ 382 w 2175"/>
                <a:gd name="T11" fmla="*/ 337 h 641"/>
                <a:gd name="T12" fmla="*/ 376 w 2175"/>
                <a:gd name="T13" fmla="*/ 352 h 641"/>
                <a:gd name="T14" fmla="*/ 365 w 2175"/>
                <a:gd name="T15" fmla="*/ 365 h 641"/>
                <a:gd name="T16" fmla="*/ 218 w 2175"/>
                <a:gd name="T17" fmla="*/ 513 h 641"/>
                <a:gd name="T18" fmla="*/ 614 w 2175"/>
                <a:gd name="T19" fmla="*/ 513 h 641"/>
                <a:gd name="T20" fmla="*/ 805 w 2175"/>
                <a:gd name="T21" fmla="*/ 320 h 641"/>
                <a:gd name="T22" fmla="*/ 614 w 2175"/>
                <a:gd name="T23" fmla="*/ 128 h 641"/>
                <a:gd name="T24" fmla="*/ 218 w 2175"/>
                <a:gd name="T25" fmla="*/ 128 h 641"/>
                <a:gd name="T26" fmla="*/ 64 w 2175"/>
                <a:gd name="T27" fmla="*/ 0 h 641"/>
                <a:gd name="T28" fmla="*/ 639 w 2175"/>
                <a:gd name="T29" fmla="*/ 0 h 641"/>
                <a:gd name="T30" fmla="*/ 656 w 2175"/>
                <a:gd name="T31" fmla="*/ 2 h 641"/>
                <a:gd name="T32" fmla="*/ 671 w 2175"/>
                <a:gd name="T33" fmla="*/ 9 h 641"/>
                <a:gd name="T34" fmla="*/ 685 w 2175"/>
                <a:gd name="T35" fmla="*/ 19 h 641"/>
                <a:gd name="T36" fmla="*/ 922 w 2175"/>
                <a:gd name="T37" fmla="*/ 257 h 641"/>
                <a:gd name="T38" fmla="*/ 2175 w 2175"/>
                <a:gd name="T39" fmla="*/ 257 h 641"/>
                <a:gd name="T40" fmla="*/ 2175 w 2175"/>
                <a:gd name="T41" fmla="*/ 384 h 641"/>
                <a:gd name="T42" fmla="*/ 922 w 2175"/>
                <a:gd name="T43" fmla="*/ 384 h 641"/>
                <a:gd name="T44" fmla="*/ 685 w 2175"/>
                <a:gd name="T45" fmla="*/ 622 h 641"/>
                <a:gd name="T46" fmla="*/ 671 w 2175"/>
                <a:gd name="T47" fmla="*/ 632 h 641"/>
                <a:gd name="T48" fmla="*/ 656 w 2175"/>
                <a:gd name="T49" fmla="*/ 639 h 641"/>
                <a:gd name="T50" fmla="*/ 639 w 2175"/>
                <a:gd name="T51" fmla="*/ 641 h 641"/>
                <a:gd name="T52" fmla="*/ 64 w 2175"/>
                <a:gd name="T53" fmla="*/ 641 h 641"/>
                <a:gd name="T54" fmla="*/ 45 w 2175"/>
                <a:gd name="T55" fmla="*/ 637 h 641"/>
                <a:gd name="T56" fmla="*/ 28 w 2175"/>
                <a:gd name="T57" fmla="*/ 629 h 641"/>
                <a:gd name="T58" fmla="*/ 14 w 2175"/>
                <a:gd name="T59" fmla="*/ 617 h 641"/>
                <a:gd name="T60" fmla="*/ 5 w 2175"/>
                <a:gd name="T61" fmla="*/ 601 h 641"/>
                <a:gd name="T62" fmla="*/ 0 w 2175"/>
                <a:gd name="T63" fmla="*/ 582 h 641"/>
                <a:gd name="T64" fmla="*/ 1 w 2175"/>
                <a:gd name="T65" fmla="*/ 564 h 641"/>
                <a:gd name="T66" fmla="*/ 7 w 2175"/>
                <a:gd name="T67" fmla="*/ 547 h 641"/>
                <a:gd name="T68" fmla="*/ 19 w 2175"/>
                <a:gd name="T69" fmla="*/ 531 h 641"/>
                <a:gd name="T70" fmla="*/ 230 w 2175"/>
                <a:gd name="T71" fmla="*/ 320 h 641"/>
                <a:gd name="T72" fmla="*/ 19 w 2175"/>
                <a:gd name="T73" fmla="*/ 110 h 641"/>
                <a:gd name="T74" fmla="*/ 7 w 2175"/>
                <a:gd name="T75" fmla="*/ 94 h 641"/>
                <a:gd name="T76" fmla="*/ 1 w 2175"/>
                <a:gd name="T77" fmla="*/ 77 h 641"/>
                <a:gd name="T78" fmla="*/ 0 w 2175"/>
                <a:gd name="T79" fmla="*/ 59 h 641"/>
                <a:gd name="T80" fmla="*/ 5 w 2175"/>
                <a:gd name="T81" fmla="*/ 40 h 641"/>
                <a:gd name="T82" fmla="*/ 14 w 2175"/>
                <a:gd name="T83" fmla="*/ 24 h 641"/>
                <a:gd name="T84" fmla="*/ 28 w 2175"/>
                <a:gd name="T85" fmla="*/ 11 h 641"/>
                <a:gd name="T86" fmla="*/ 45 w 2175"/>
                <a:gd name="T87" fmla="*/ 4 h 641"/>
                <a:gd name="T88" fmla="*/ 64 w 2175"/>
                <a:gd name="T89" fmla="*/ 0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75" h="641">
                  <a:moveTo>
                    <a:pt x="218" y="128"/>
                  </a:moveTo>
                  <a:lnTo>
                    <a:pt x="365" y="276"/>
                  </a:lnTo>
                  <a:lnTo>
                    <a:pt x="376" y="289"/>
                  </a:lnTo>
                  <a:lnTo>
                    <a:pt x="382" y="304"/>
                  </a:lnTo>
                  <a:lnTo>
                    <a:pt x="384" y="320"/>
                  </a:lnTo>
                  <a:lnTo>
                    <a:pt x="382" y="337"/>
                  </a:lnTo>
                  <a:lnTo>
                    <a:pt x="376" y="352"/>
                  </a:lnTo>
                  <a:lnTo>
                    <a:pt x="365" y="365"/>
                  </a:lnTo>
                  <a:lnTo>
                    <a:pt x="218" y="513"/>
                  </a:lnTo>
                  <a:lnTo>
                    <a:pt x="614" y="513"/>
                  </a:lnTo>
                  <a:lnTo>
                    <a:pt x="805" y="320"/>
                  </a:lnTo>
                  <a:lnTo>
                    <a:pt x="614" y="128"/>
                  </a:lnTo>
                  <a:lnTo>
                    <a:pt x="218" y="128"/>
                  </a:lnTo>
                  <a:close/>
                  <a:moveTo>
                    <a:pt x="64" y="0"/>
                  </a:moveTo>
                  <a:lnTo>
                    <a:pt x="639" y="0"/>
                  </a:lnTo>
                  <a:lnTo>
                    <a:pt x="656" y="2"/>
                  </a:lnTo>
                  <a:lnTo>
                    <a:pt x="671" y="9"/>
                  </a:lnTo>
                  <a:lnTo>
                    <a:pt x="685" y="19"/>
                  </a:lnTo>
                  <a:lnTo>
                    <a:pt x="922" y="257"/>
                  </a:lnTo>
                  <a:lnTo>
                    <a:pt x="2175" y="257"/>
                  </a:lnTo>
                  <a:lnTo>
                    <a:pt x="2175" y="384"/>
                  </a:lnTo>
                  <a:lnTo>
                    <a:pt x="922" y="384"/>
                  </a:lnTo>
                  <a:lnTo>
                    <a:pt x="685" y="622"/>
                  </a:lnTo>
                  <a:lnTo>
                    <a:pt x="671" y="632"/>
                  </a:lnTo>
                  <a:lnTo>
                    <a:pt x="656" y="639"/>
                  </a:lnTo>
                  <a:lnTo>
                    <a:pt x="639" y="641"/>
                  </a:lnTo>
                  <a:lnTo>
                    <a:pt x="64" y="641"/>
                  </a:lnTo>
                  <a:lnTo>
                    <a:pt x="45" y="637"/>
                  </a:lnTo>
                  <a:lnTo>
                    <a:pt x="28" y="629"/>
                  </a:lnTo>
                  <a:lnTo>
                    <a:pt x="14" y="617"/>
                  </a:lnTo>
                  <a:lnTo>
                    <a:pt x="5" y="601"/>
                  </a:lnTo>
                  <a:lnTo>
                    <a:pt x="0" y="582"/>
                  </a:lnTo>
                  <a:lnTo>
                    <a:pt x="1" y="564"/>
                  </a:lnTo>
                  <a:lnTo>
                    <a:pt x="7" y="547"/>
                  </a:lnTo>
                  <a:lnTo>
                    <a:pt x="19" y="531"/>
                  </a:lnTo>
                  <a:lnTo>
                    <a:pt x="230" y="320"/>
                  </a:lnTo>
                  <a:lnTo>
                    <a:pt x="19" y="110"/>
                  </a:lnTo>
                  <a:lnTo>
                    <a:pt x="7" y="94"/>
                  </a:lnTo>
                  <a:lnTo>
                    <a:pt x="1" y="77"/>
                  </a:lnTo>
                  <a:lnTo>
                    <a:pt x="0" y="59"/>
                  </a:lnTo>
                  <a:lnTo>
                    <a:pt x="5" y="40"/>
                  </a:lnTo>
                  <a:lnTo>
                    <a:pt x="14" y="24"/>
                  </a:lnTo>
                  <a:lnTo>
                    <a:pt x="28" y="11"/>
                  </a:lnTo>
                  <a:lnTo>
                    <a:pt x="45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/>
            </a:p>
          </p:txBody>
        </p:sp>
        <p:sp>
          <p:nvSpPr>
            <p:cNvPr id="234" name="Freeform 326">
              <a:extLst>
                <a:ext uri="{FF2B5EF4-FFF2-40B4-BE49-F238E27FC236}">
                  <a16:creationId xmlns:a16="http://schemas.microsoft.com/office/drawing/2014/main" id="{F4726D90-840E-5543-892B-DD6001C49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53490" y="2340845"/>
              <a:ext cx="2289272" cy="2305489"/>
            </a:xfrm>
            <a:custGeom>
              <a:avLst/>
              <a:gdLst>
                <a:gd name="T0" fmla="*/ 1450 w 2541"/>
                <a:gd name="T1" fmla="*/ 13 h 2559"/>
                <a:gd name="T2" fmla="*/ 1718 w 2541"/>
                <a:gd name="T3" fmla="*/ 84 h 2559"/>
                <a:gd name="T4" fmla="*/ 1958 w 2541"/>
                <a:gd name="T5" fmla="*/ 206 h 2559"/>
                <a:gd name="T6" fmla="*/ 2166 w 2541"/>
                <a:gd name="T7" fmla="*/ 375 h 2559"/>
                <a:gd name="T8" fmla="*/ 2335 w 2541"/>
                <a:gd name="T9" fmla="*/ 583 h 2559"/>
                <a:gd name="T10" fmla="*/ 2457 w 2541"/>
                <a:gd name="T11" fmla="*/ 824 h 2559"/>
                <a:gd name="T12" fmla="*/ 2528 w 2541"/>
                <a:gd name="T13" fmla="*/ 1091 h 2559"/>
                <a:gd name="T14" fmla="*/ 2537 w 2541"/>
                <a:gd name="T15" fmla="*/ 1375 h 2559"/>
                <a:gd name="T16" fmla="*/ 2487 w 2541"/>
                <a:gd name="T17" fmla="*/ 1648 h 2559"/>
                <a:gd name="T18" fmla="*/ 2381 w 2541"/>
                <a:gd name="T19" fmla="*/ 1899 h 2559"/>
                <a:gd name="T20" fmla="*/ 2228 w 2541"/>
                <a:gd name="T21" fmla="*/ 2118 h 2559"/>
                <a:gd name="T22" fmla="*/ 2031 w 2541"/>
                <a:gd name="T23" fmla="*/ 2301 h 2559"/>
                <a:gd name="T24" fmla="*/ 1800 w 2541"/>
                <a:gd name="T25" fmla="*/ 2440 h 2559"/>
                <a:gd name="T26" fmla="*/ 1542 w 2541"/>
                <a:gd name="T27" fmla="*/ 2528 h 2559"/>
                <a:gd name="T28" fmla="*/ 1262 w 2541"/>
                <a:gd name="T29" fmla="*/ 2559 h 2559"/>
                <a:gd name="T30" fmla="*/ 985 w 2541"/>
                <a:gd name="T31" fmla="*/ 2530 h 2559"/>
                <a:gd name="T32" fmla="*/ 730 w 2541"/>
                <a:gd name="T33" fmla="*/ 2445 h 2559"/>
                <a:gd name="T34" fmla="*/ 500 w 2541"/>
                <a:gd name="T35" fmla="*/ 2309 h 2559"/>
                <a:gd name="T36" fmla="*/ 305 w 2541"/>
                <a:gd name="T37" fmla="*/ 2131 h 2559"/>
                <a:gd name="T38" fmla="*/ 150 w 2541"/>
                <a:gd name="T39" fmla="*/ 1913 h 2559"/>
                <a:gd name="T40" fmla="*/ 42 w 2541"/>
                <a:gd name="T41" fmla="*/ 1664 h 2559"/>
                <a:gd name="T42" fmla="*/ 127 w 2541"/>
                <a:gd name="T43" fmla="*/ 1461 h 2559"/>
                <a:gd name="T44" fmla="*/ 196 w 2541"/>
                <a:gd name="T45" fmla="*/ 1715 h 2559"/>
                <a:gd name="T46" fmla="*/ 318 w 2541"/>
                <a:gd name="T47" fmla="*/ 1939 h 2559"/>
                <a:gd name="T48" fmla="*/ 482 w 2541"/>
                <a:gd name="T49" fmla="*/ 2129 h 2559"/>
                <a:gd name="T50" fmla="*/ 685 w 2541"/>
                <a:gd name="T51" fmla="*/ 2279 h 2559"/>
                <a:gd name="T52" fmla="*/ 918 w 2541"/>
                <a:gd name="T53" fmla="*/ 2380 h 2559"/>
                <a:gd name="T54" fmla="*/ 1173 w 2541"/>
                <a:gd name="T55" fmla="*/ 2428 h 2559"/>
                <a:gd name="T56" fmla="*/ 1440 w 2541"/>
                <a:gd name="T57" fmla="*/ 2418 h 2559"/>
                <a:gd name="T58" fmla="*/ 1689 w 2541"/>
                <a:gd name="T59" fmla="*/ 2349 h 2559"/>
                <a:gd name="T60" fmla="*/ 1914 w 2541"/>
                <a:gd name="T61" fmla="*/ 2228 h 2559"/>
                <a:gd name="T62" fmla="*/ 2105 w 2541"/>
                <a:gd name="T63" fmla="*/ 2063 h 2559"/>
                <a:gd name="T64" fmla="*/ 2256 w 2541"/>
                <a:gd name="T65" fmla="*/ 1860 h 2559"/>
                <a:gd name="T66" fmla="*/ 2360 w 2541"/>
                <a:gd name="T67" fmla="*/ 1627 h 2559"/>
                <a:gd name="T68" fmla="*/ 2410 w 2541"/>
                <a:gd name="T69" fmla="*/ 1369 h 2559"/>
                <a:gd name="T70" fmla="*/ 2400 w 2541"/>
                <a:gd name="T71" fmla="*/ 1102 h 2559"/>
                <a:gd name="T72" fmla="*/ 2331 w 2541"/>
                <a:gd name="T73" fmla="*/ 852 h 2559"/>
                <a:gd name="T74" fmla="*/ 2210 w 2541"/>
                <a:gd name="T75" fmla="*/ 627 h 2559"/>
                <a:gd name="T76" fmla="*/ 2045 w 2541"/>
                <a:gd name="T77" fmla="*/ 436 h 2559"/>
                <a:gd name="T78" fmla="*/ 1843 w 2541"/>
                <a:gd name="T79" fmla="*/ 285 h 2559"/>
                <a:gd name="T80" fmla="*/ 1609 w 2541"/>
                <a:gd name="T81" fmla="*/ 181 h 2559"/>
                <a:gd name="T82" fmla="*/ 1352 w 2541"/>
                <a:gd name="T83" fmla="*/ 131 h 2559"/>
                <a:gd name="T84" fmla="*/ 1085 w 2541"/>
                <a:gd name="T85" fmla="*/ 140 h 2559"/>
                <a:gd name="T86" fmla="*/ 837 w 2541"/>
                <a:gd name="T87" fmla="*/ 207 h 2559"/>
                <a:gd name="T88" fmla="*/ 614 w 2541"/>
                <a:gd name="T89" fmla="*/ 325 h 2559"/>
                <a:gd name="T90" fmla="*/ 424 w 2541"/>
                <a:gd name="T91" fmla="*/ 489 h 2559"/>
                <a:gd name="T92" fmla="*/ 272 w 2541"/>
                <a:gd name="T93" fmla="*/ 690 h 2559"/>
                <a:gd name="T94" fmla="*/ 167 w 2541"/>
                <a:gd name="T95" fmla="*/ 925 h 2559"/>
                <a:gd name="T96" fmla="*/ 0 w 2541"/>
                <a:gd name="T97" fmla="*/ 1077 h 2559"/>
                <a:gd name="T98" fmla="*/ 73 w 2541"/>
                <a:gd name="T99" fmla="*/ 809 h 2559"/>
                <a:gd name="T100" fmla="*/ 196 w 2541"/>
                <a:gd name="T101" fmla="*/ 569 h 2559"/>
                <a:gd name="T102" fmla="*/ 366 w 2541"/>
                <a:gd name="T103" fmla="*/ 364 h 2559"/>
                <a:gd name="T104" fmla="*/ 573 w 2541"/>
                <a:gd name="T105" fmla="*/ 199 h 2559"/>
                <a:gd name="T106" fmla="*/ 812 w 2541"/>
                <a:gd name="T107" fmla="*/ 80 h 2559"/>
                <a:gd name="T108" fmla="*/ 1076 w 2541"/>
                <a:gd name="T109" fmla="*/ 13 h 2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41" h="2559">
                  <a:moveTo>
                    <a:pt x="1262" y="0"/>
                  </a:moveTo>
                  <a:lnTo>
                    <a:pt x="1357" y="4"/>
                  </a:lnTo>
                  <a:lnTo>
                    <a:pt x="1450" y="13"/>
                  </a:lnTo>
                  <a:lnTo>
                    <a:pt x="1542" y="31"/>
                  </a:lnTo>
                  <a:lnTo>
                    <a:pt x="1631" y="54"/>
                  </a:lnTo>
                  <a:lnTo>
                    <a:pt x="1718" y="84"/>
                  </a:lnTo>
                  <a:lnTo>
                    <a:pt x="1800" y="119"/>
                  </a:lnTo>
                  <a:lnTo>
                    <a:pt x="1881" y="159"/>
                  </a:lnTo>
                  <a:lnTo>
                    <a:pt x="1958" y="206"/>
                  </a:lnTo>
                  <a:lnTo>
                    <a:pt x="2031" y="258"/>
                  </a:lnTo>
                  <a:lnTo>
                    <a:pt x="2100" y="313"/>
                  </a:lnTo>
                  <a:lnTo>
                    <a:pt x="2166" y="375"/>
                  </a:lnTo>
                  <a:lnTo>
                    <a:pt x="2228" y="441"/>
                  </a:lnTo>
                  <a:lnTo>
                    <a:pt x="2283" y="510"/>
                  </a:lnTo>
                  <a:lnTo>
                    <a:pt x="2335" y="583"/>
                  </a:lnTo>
                  <a:lnTo>
                    <a:pt x="2381" y="660"/>
                  </a:lnTo>
                  <a:lnTo>
                    <a:pt x="2422" y="740"/>
                  </a:lnTo>
                  <a:lnTo>
                    <a:pt x="2457" y="824"/>
                  </a:lnTo>
                  <a:lnTo>
                    <a:pt x="2487" y="911"/>
                  </a:lnTo>
                  <a:lnTo>
                    <a:pt x="2510" y="999"/>
                  </a:lnTo>
                  <a:lnTo>
                    <a:pt x="2528" y="1091"/>
                  </a:lnTo>
                  <a:lnTo>
                    <a:pt x="2537" y="1184"/>
                  </a:lnTo>
                  <a:lnTo>
                    <a:pt x="2541" y="1279"/>
                  </a:lnTo>
                  <a:lnTo>
                    <a:pt x="2537" y="1375"/>
                  </a:lnTo>
                  <a:lnTo>
                    <a:pt x="2528" y="1468"/>
                  </a:lnTo>
                  <a:lnTo>
                    <a:pt x="2510" y="1560"/>
                  </a:lnTo>
                  <a:lnTo>
                    <a:pt x="2487" y="1648"/>
                  </a:lnTo>
                  <a:lnTo>
                    <a:pt x="2457" y="1735"/>
                  </a:lnTo>
                  <a:lnTo>
                    <a:pt x="2422" y="1819"/>
                  </a:lnTo>
                  <a:lnTo>
                    <a:pt x="2381" y="1899"/>
                  </a:lnTo>
                  <a:lnTo>
                    <a:pt x="2335" y="1976"/>
                  </a:lnTo>
                  <a:lnTo>
                    <a:pt x="2283" y="2049"/>
                  </a:lnTo>
                  <a:lnTo>
                    <a:pt x="2228" y="2118"/>
                  </a:lnTo>
                  <a:lnTo>
                    <a:pt x="2166" y="2184"/>
                  </a:lnTo>
                  <a:lnTo>
                    <a:pt x="2100" y="2246"/>
                  </a:lnTo>
                  <a:lnTo>
                    <a:pt x="2031" y="2301"/>
                  </a:lnTo>
                  <a:lnTo>
                    <a:pt x="1958" y="2353"/>
                  </a:lnTo>
                  <a:lnTo>
                    <a:pt x="1881" y="2399"/>
                  </a:lnTo>
                  <a:lnTo>
                    <a:pt x="1800" y="2440"/>
                  </a:lnTo>
                  <a:lnTo>
                    <a:pt x="1718" y="2475"/>
                  </a:lnTo>
                  <a:lnTo>
                    <a:pt x="1631" y="2505"/>
                  </a:lnTo>
                  <a:lnTo>
                    <a:pt x="1542" y="2528"/>
                  </a:lnTo>
                  <a:lnTo>
                    <a:pt x="1450" y="2546"/>
                  </a:lnTo>
                  <a:lnTo>
                    <a:pt x="1357" y="2555"/>
                  </a:lnTo>
                  <a:lnTo>
                    <a:pt x="1262" y="2559"/>
                  </a:lnTo>
                  <a:lnTo>
                    <a:pt x="1168" y="2557"/>
                  </a:lnTo>
                  <a:lnTo>
                    <a:pt x="1076" y="2546"/>
                  </a:lnTo>
                  <a:lnTo>
                    <a:pt x="985" y="2530"/>
                  </a:lnTo>
                  <a:lnTo>
                    <a:pt x="897" y="2507"/>
                  </a:lnTo>
                  <a:lnTo>
                    <a:pt x="812" y="2479"/>
                  </a:lnTo>
                  <a:lnTo>
                    <a:pt x="730" y="2445"/>
                  </a:lnTo>
                  <a:lnTo>
                    <a:pt x="650" y="2405"/>
                  </a:lnTo>
                  <a:lnTo>
                    <a:pt x="573" y="2360"/>
                  </a:lnTo>
                  <a:lnTo>
                    <a:pt x="500" y="2309"/>
                  </a:lnTo>
                  <a:lnTo>
                    <a:pt x="431" y="2255"/>
                  </a:lnTo>
                  <a:lnTo>
                    <a:pt x="366" y="2195"/>
                  </a:lnTo>
                  <a:lnTo>
                    <a:pt x="305" y="2131"/>
                  </a:lnTo>
                  <a:lnTo>
                    <a:pt x="248" y="2062"/>
                  </a:lnTo>
                  <a:lnTo>
                    <a:pt x="196" y="1990"/>
                  </a:lnTo>
                  <a:lnTo>
                    <a:pt x="150" y="1913"/>
                  </a:lnTo>
                  <a:lnTo>
                    <a:pt x="109" y="1833"/>
                  </a:lnTo>
                  <a:lnTo>
                    <a:pt x="73" y="1750"/>
                  </a:lnTo>
                  <a:lnTo>
                    <a:pt x="42" y="1664"/>
                  </a:lnTo>
                  <a:lnTo>
                    <a:pt x="18" y="1574"/>
                  </a:lnTo>
                  <a:lnTo>
                    <a:pt x="0" y="1481"/>
                  </a:lnTo>
                  <a:lnTo>
                    <a:pt x="127" y="1461"/>
                  </a:lnTo>
                  <a:lnTo>
                    <a:pt x="143" y="1549"/>
                  </a:lnTo>
                  <a:lnTo>
                    <a:pt x="167" y="1633"/>
                  </a:lnTo>
                  <a:lnTo>
                    <a:pt x="196" y="1715"/>
                  </a:lnTo>
                  <a:lnTo>
                    <a:pt x="232" y="1793"/>
                  </a:lnTo>
                  <a:lnTo>
                    <a:pt x="272" y="1869"/>
                  </a:lnTo>
                  <a:lnTo>
                    <a:pt x="318" y="1939"/>
                  </a:lnTo>
                  <a:lnTo>
                    <a:pt x="368" y="2008"/>
                  </a:lnTo>
                  <a:lnTo>
                    <a:pt x="424" y="2070"/>
                  </a:lnTo>
                  <a:lnTo>
                    <a:pt x="482" y="2129"/>
                  </a:lnTo>
                  <a:lnTo>
                    <a:pt x="547" y="2184"/>
                  </a:lnTo>
                  <a:lnTo>
                    <a:pt x="614" y="2234"/>
                  </a:lnTo>
                  <a:lnTo>
                    <a:pt x="685" y="2279"/>
                  </a:lnTo>
                  <a:lnTo>
                    <a:pt x="759" y="2317"/>
                  </a:lnTo>
                  <a:lnTo>
                    <a:pt x="837" y="2352"/>
                  </a:lnTo>
                  <a:lnTo>
                    <a:pt x="918" y="2380"/>
                  </a:lnTo>
                  <a:lnTo>
                    <a:pt x="1001" y="2402"/>
                  </a:lnTo>
                  <a:lnTo>
                    <a:pt x="1085" y="2418"/>
                  </a:lnTo>
                  <a:lnTo>
                    <a:pt x="1173" y="2428"/>
                  </a:lnTo>
                  <a:lnTo>
                    <a:pt x="1262" y="2432"/>
                  </a:lnTo>
                  <a:lnTo>
                    <a:pt x="1352" y="2428"/>
                  </a:lnTo>
                  <a:lnTo>
                    <a:pt x="1440" y="2418"/>
                  </a:lnTo>
                  <a:lnTo>
                    <a:pt x="1526" y="2401"/>
                  </a:lnTo>
                  <a:lnTo>
                    <a:pt x="1609" y="2378"/>
                  </a:lnTo>
                  <a:lnTo>
                    <a:pt x="1689" y="2349"/>
                  </a:lnTo>
                  <a:lnTo>
                    <a:pt x="1768" y="2314"/>
                  </a:lnTo>
                  <a:lnTo>
                    <a:pt x="1843" y="2274"/>
                  </a:lnTo>
                  <a:lnTo>
                    <a:pt x="1914" y="2228"/>
                  </a:lnTo>
                  <a:lnTo>
                    <a:pt x="1982" y="2178"/>
                  </a:lnTo>
                  <a:lnTo>
                    <a:pt x="2045" y="2123"/>
                  </a:lnTo>
                  <a:lnTo>
                    <a:pt x="2105" y="2063"/>
                  </a:lnTo>
                  <a:lnTo>
                    <a:pt x="2161" y="1999"/>
                  </a:lnTo>
                  <a:lnTo>
                    <a:pt x="2210" y="1932"/>
                  </a:lnTo>
                  <a:lnTo>
                    <a:pt x="2256" y="1860"/>
                  </a:lnTo>
                  <a:lnTo>
                    <a:pt x="2296" y="1786"/>
                  </a:lnTo>
                  <a:lnTo>
                    <a:pt x="2331" y="1707"/>
                  </a:lnTo>
                  <a:lnTo>
                    <a:pt x="2360" y="1627"/>
                  </a:lnTo>
                  <a:lnTo>
                    <a:pt x="2383" y="1543"/>
                  </a:lnTo>
                  <a:lnTo>
                    <a:pt x="2400" y="1457"/>
                  </a:lnTo>
                  <a:lnTo>
                    <a:pt x="2410" y="1369"/>
                  </a:lnTo>
                  <a:lnTo>
                    <a:pt x="2414" y="1279"/>
                  </a:lnTo>
                  <a:lnTo>
                    <a:pt x="2410" y="1190"/>
                  </a:lnTo>
                  <a:lnTo>
                    <a:pt x="2400" y="1102"/>
                  </a:lnTo>
                  <a:lnTo>
                    <a:pt x="2383" y="1016"/>
                  </a:lnTo>
                  <a:lnTo>
                    <a:pt x="2360" y="932"/>
                  </a:lnTo>
                  <a:lnTo>
                    <a:pt x="2331" y="852"/>
                  </a:lnTo>
                  <a:lnTo>
                    <a:pt x="2296" y="773"/>
                  </a:lnTo>
                  <a:lnTo>
                    <a:pt x="2256" y="699"/>
                  </a:lnTo>
                  <a:lnTo>
                    <a:pt x="2210" y="627"/>
                  </a:lnTo>
                  <a:lnTo>
                    <a:pt x="2161" y="560"/>
                  </a:lnTo>
                  <a:lnTo>
                    <a:pt x="2105" y="496"/>
                  </a:lnTo>
                  <a:lnTo>
                    <a:pt x="2045" y="436"/>
                  </a:lnTo>
                  <a:lnTo>
                    <a:pt x="1982" y="381"/>
                  </a:lnTo>
                  <a:lnTo>
                    <a:pt x="1914" y="330"/>
                  </a:lnTo>
                  <a:lnTo>
                    <a:pt x="1843" y="285"/>
                  </a:lnTo>
                  <a:lnTo>
                    <a:pt x="1768" y="245"/>
                  </a:lnTo>
                  <a:lnTo>
                    <a:pt x="1689" y="210"/>
                  </a:lnTo>
                  <a:lnTo>
                    <a:pt x="1609" y="181"/>
                  </a:lnTo>
                  <a:lnTo>
                    <a:pt x="1526" y="158"/>
                  </a:lnTo>
                  <a:lnTo>
                    <a:pt x="1440" y="141"/>
                  </a:lnTo>
                  <a:lnTo>
                    <a:pt x="1352" y="131"/>
                  </a:lnTo>
                  <a:lnTo>
                    <a:pt x="1262" y="127"/>
                  </a:lnTo>
                  <a:lnTo>
                    <a:pt x="1173" y="131"/>
                  </a:lnTo>
                  <a:lnTo>
                    <a:pt x="1085" y="140"/>
                  </a:lnTo>
                  <a:lnTo>
                    <a:pt x="1001" y="157"/>
                  </a:lnTo>
                  <a:lnTo>
                    <a:pt x="918" y="179"/>
                  </a:lnTo>
                  <a:lnTo>
                    <a:pt x="837" y="207"/>
                  </a:lnTo>
                  <a:lnTo>
                    <a:pt x="759" y="242"/>
                  </a:lnTo>
                  <a:lnTo>
                    <a:pt x="685" y="280"/>
                  </a:lnTo>
                  <a:lnTo>
                    <a:pt x="614" y="325"/>
                  </a:lnTo>
                  <a:lnTo>
                    <a:pt x="547" y="375"/>
                  </a:lnTo>
                  <a:lnTo>
                    <a:pt x="482" y="430"/>
                  </a:lnTo>
                  <a:lnTo>
                    <a:pt x="424" y="489"/>
                  </a:lnTo>
                  <a:lnTo>
                    <a:pt x="368" y="551"/>
                  </a:lnTo>
                  <a:lnTo>
                    <a:pt x="318" y="619"/>
                  </a:lnTo>
                  <a:lnTo>
                    <a:pt x="272" y="690"/>
                  </a:lnTo>
                  <a:lnTo>
                    <a:pt x="232" y="766"/>
                  </a:lnTo>
                  <a:lnTo>
                    <a:pt x="196" y="844"/>
                  </a:lnTo>
                  <a:lnTo>
                    <a:pt x="167" y="925"/>
                  </a:lnTo>
                  <a:lnTo>
                    <a:pt x="143" y="1010"/>
                  </a:lnTo>
                  <a:lnTo>
                    <a:pt x="127" y="1098"/>
                  </a:lnTo>
                  <a:lnTo>
                    <a:pt x="0" y="1077"/>
                  </a:lnTo>
                  <a:lnTo>
                    <a:pt x="18" y="985"/>
                  </a:lnTo>
                  <a:lnTo>
                    <a:pt x="42" y="895"/>
                  </a:lnTo>
                  <a:lnTo>
                    <a:pt x="73" y="809"/>
                  </a:lnTo>
                  <a:lnTo>
                    <a:pt x="109" y="726"/>
                  </a:lnTo>
                  <a:lnTo>
                    <a:pt x="150" y="646"/>
                  </a:lnTo>
                  <a:lnTo>
                    <a:pt x="196" y="569"/>
                  </a:lnTo>
                  <a:lnTo>
                    <a:pt x="248" y="496"/>
                  </a:lnTo>
                  <a:lnTo>
                    <a:pt x="305" y="428"/>
                  </a:lnTo>
                  <a:lnTo>
                    <a:pt x="366" y="364"/>
                  </a:lnTo>
                  <a:lnTo>
                    <a:pt x="431" y="304"/>
                  </a:lnTo>
                  <a:lnTo>
                    <a:pt x="500" y="249"/>
                  </a:lnTo>
                  <a:lnTo>
                    <a:pt x="573" y="199"/>
                  </a:lnTo>
                  <a:lnTo>
                    <a:pt x="650" y="154"/>
                  </a:lnTo>
                  <a:lnTo>
                    <a:pt x="730" y="114"/>
                  </a:lnTo>
                  <a:lnTo>
                    <a:pt x="812" y="80"/>
                  </a:lnTo>
                  <a:lnTo>
                    <a:pt x="897" y="52"/>
                  </a:lnTo>
                  <a:lnTo>
                    <a:pt x="985" y="29"/>
                  </a:lnTo>
                  <a:lnTo>
                    <a:pt x="1076" y="13"/>
                  </a:lnTo>
                  <a:lnTo>
                    <a:pt x="1168" y="2"/>
                  </a:lnTo>
                  <a:lnTo>
                    <a:pt x="126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/>
            </a:p>
          </p:txBody>
        </p:sp>
        <p:sp>
          <p:nvSpPr>
            <p:cNvPr id="235" name="Freeform 327">
              <a:extLst>
                <a:ext uri="{FF2B5EF4-FFF2-40B4-BE49-F238E27FC236}">
                  <a16:creationId xmlns:a16="http://schemas.microsoft.com/office/drawing/2014/main" id="{E60C84E5-A0D5-2AF4-6F4E-34A759054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6832" y="2571484"/>
              <a:ext cx="1825291" cy="1844211"/>
            </a:xfrm>
            <a:custGeom>
              <a:avLst/>
              <a:gdLst>
                <a:gd name="T0" fmla="*/ 1177 w 2026"/>
                <a:gd name="T1" fmla="*/ 14 h 2047"/>
                <a:gd name="T2" fmla="*/ 1420 w 2026"/>
                <a:gd name="T3" fmla="*/ 88 h 2047"/>
                <a:gd name="T4" fmla="*/ 1633 w 2026"/>
                <a:gd name="T5" fmla="*/ 218 h 2047"/>
                <a:gd name="T6" fmla="*/ 1808 w 2026"/>
                <a:gd name="T7" fmla="*/ 393 h 2047"/>
                <a:gd name="T8" fmla="*/ 1938 w 2026"/>
                <a:gd name="T9" fmla="*/ 606 h 2047"/>
                <a:gd name="T10" fmla="*/ 2011 w 2026"/>
                <a:gd name="T11" fmla="*/ 849 h 2047"/>
                <a:gd name="T12" fmla="*/ 2023 w 2026"/>
                <a:gd name="T13" fmla="*/ 1112 h 2047"/>
                <a:gd name="T14" fmla="*/ 1969 w 2026"/>
                <a:gd name="T15" fmla="*/ 1363 h 2047"/>
                <a:gd name="T16" fmla="*/ 1857 w 2026"/>
                <a:gd name="T17" fmla="*/ 1587 h 2047"/>
                <a:gd name="T18" fmla="*/ 1697 w 2026"/>
                <a:gd name="T19" fmla="*/ 1776 h 2047"/>
                <a:gd name="T20" fmla="*/ 1495 w 2026"/>
                <a:gd name="T21" fmla="*/ 1921 h 2047"/>
                <a:gd name="T22" fmla="*/ 1261 w 2026"/>
                <a:gd name="T23" fmla="*/ 2014 h 2047"/>
                <a:gd name="T24" fmla="*/ 1003 w 2026"/>
                <a:gd name="T25" fmla="*/ 2047 h 2047"/>
                <a:gd name="T26" fmla="*/ 767 w 2026"/>
                <a:gd name="T27" fmla="*/ 2020 h 2047"/>
                <a:gd name="T28" fmla="*/ 548 w 2026"/>
                <a:gd name="T29" fmla="*/ 1940 h 2047"/>
                <a:gd name="T30" fmla="*/ 355 w 2026"/>
                <a:gd name="T31" fmla="*/ 1816 h 2047"/>
                <a:gd name="T32" fmla="*/ 195 w 2026"/>
                <a:gd name="T33" fmla="*/ 1651 h 2047"/>
                <a:gd name="T34" fmla="*/ 74 w 2026"/>
                <a:gd name="T35" fmla="*/ 1454 h 2047"/>
                <a:gd name="T36" fmla="*/ 0 w 2026"/>
                <a:gd name="T37" fmla="*/ 1228 h 2047"/>
                <a:gd name="T38" fmla="*/ 169 w 2026"/>
                <a:gd name="T39" fmla="*/ 1352 h 2047"/>
                <a:gd name="T40" fmla="*/ 281 w 2026"/>
                <a:gd name="T41" fmla="*/ 1552 h 2047"/>
                <a:gd name="T42" fmla="*/ 437 w 2026"/>
                <a:gd name="T43" fmla="*/ 1716 h 2047"/>
                <a:gd name="T44" fmla="*/ 629 w 2026"/>
                <a:gd name="T45" fmla="*/ 1836 h 2047"/>
                <a:gd name="T46" fmla="*/ 846 w 2026"/>
                <a:gd name="T47" fmla="*/ 1906 h 2047"/>
                <a:gd name="T48" fmla="*/ 1084 w 2026"/>
                <a:gd name="T49" fmla="*/ 1915 h 2047"/>
                <a:gd name="T50" fmla="*/ 1315 w 2026"/>
                <a:gd name="T51" fmla="*/ 1864 h 2047"/>
                <a:gd name="T52" fmla="*/ 1519 w 2026"/>
                <a:gd name="T53" fmla="*/ 1755 h 2047"/>
                <a:gd name="T54" fmla="*/ 1687 w 2026"/>
                <a:gd name="T55" fmla="*/ 1601 h 2047"/>
                <a:gd name="T56" fmla="*/ 1812 w 2026"/>
                <a:gd name="T57" fmla="*/ 1408 h 2047"/>
                <a:gd name="T58" fmla="*/ 1884 w 2026"/>
                <a:gd name="T59" fmla="*/ 1184 h 2047"/>
                <a:gd name="T60" fmla="*/ 1894 w 2026"/>
                <a:gd name="T61" fmla="*/ 942 h 2047"/>
                <a:gd name="T62" fmla="*/ 1843 w 2026"/>
                <a:gd name="T63" fmla="*/ 711 h 2047"/>
                <a:gd name="T64" fmla="*/ 1734 w 2026"/>
                <a:gd name="T65" fmla="*/ 507 h 2047"/>
                <a:gd name="T66" fmla="*/ 1580 w 2026"/>
                <a:gd name="T67" fmla="*/ 339 h 2047"/>
                <a:gd name="T68" fmla="*/ 1387 w 2026"/>
                <a:gd name="T69" fmla="*/ 214 h 2047"/>
                <a:gd name="T70" fmla="*/ 1163 w 2026"/>
                <a:gd name="T71" fmla="*/ 142 h 2047"/>
                <a:gd name="T72" fmla="*/ 924 w 2026"/>
                <a:gd name="T73" fmla="*/ 130 h 2047"/>
                <a:gd name="T74" fmla="*/ 699 w 2026"/>
                <a:gd name="T75" fmla="*/ 181 h 2047"/>
                <a:gd name="T76" fmla="*/ 497 w 2026"/>
                <a:gd name="T77" fmla="*/ 285 h 2047"/>
                <a:gd name="T78" fmla="*/ 328 w 2026"/>
                <a:gd name="T79" fmla="*/ 434 h 2047"/>
                <a:gd name="T80" fmla="*/ 201 w 2026"/>
                <a:gd name="T81" fmla="*/ 624 h 2047"/>
                <a:gd name="T82" fmla="*/ 126 w 2026"/>
                <a:gd name="T83" fmla="*/ 844 h 2047"/>
                <a:gd name="T84" fmla="*/ 43 w 2026"/>
                <a:gd name="T85" fmla="*/ 665 h 2047"/>
                <a:gd name="T86" fmla="*/ 150 w 2026"/>
                <a:gd name="T87" fmla="*/ 458 h 2047"/>
                <a:gd name="T88" fmla="*/ 298 w 2026"/>
                <a:gd name="T89" fmla="*/ 281 h 2047"/>
                <a:gd name="T90" fmla="*/ 481 w 2026"/>
                <a:gd name="T91" fmla="*/ 143 h 2047"/>
                <a:gd name="T92" fmla="*/ 692 w 2026"/>
                <a:gd name="T93" fmla="*/ 48 h 2047"/>
                <a:gd name="T94" fmla="*/ 923 w 2026"/>
                <a:gd name="T95" fmla="*/ 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26" h="2047">
                  <a:moveTo>
                    <a:pt x="1003" y="0"/>
                  </a:moveTo>
                  <a:lnTo>
                    <a:pt x="1091" y="3"/>
                  </a:lnTo>
                  <a:lnTo>
                    <a:pt x="1177" y="14"/>
                  </a:lnTo>
                  <a:lnTo>
                    <a:pt x="1261" y="33"/>
                  </a:lnTo>
                  <a:lnTo>
                    <a:pt x="1342" y="57"/>
                  </a:lnTo>
                  <a:lnTo>
                    <a:pt x="1420" y="88"/>
                  </a:lnTo>
                  <a:lnTo>
                    <a:pt x="1495" y="126"/>
                  </a:lnTo>
                  <a:lnTo>
                    <a:pt x="1566" y="169"/>
                  </a:lnTo>
                  <a:lnTo>
                    <a:pt x="1633" y="218"/>
                  </a:lnTo>
                  <a:lnTo>
                    <a:pt x="1697" y="271"/>
                  </a:lnTo>
                  <a:lnTo>
                    <a:pt x="1755" y="330"/>
                  </a:lnTo>
                  <a:lnTo>
                    <a:pt x="1808" y="393"/>
                  </a:lnTo>
                  <a:lnTo>
                    <a:pt x="1857" y="460"/>
                  </a:lnTo>
                  <a:lnTo>
                    <a:pt x="1900" y="531"/>
                  </a:lnTo>
                  <a:lnTo>
                    <a:pt x="1938" y="606"/>
                  </a:lnTo>
                  <a:lnTo>
                    <a:pt x="1969" y="684"/>
                  </a:lnTo>
                  <a:lnTo>
                    <a:pt x="1993" y="765"/>
                  </a:lnTo>
                  <a:lnTo>
                    <a:pt x="2011" y="849"/>
                  </a:lnTo>
                  <a:lnTo>
                    <a:pt x="2023" y="935"/>
                  </a:lnTo>
                  <a:lnTo>
                    <a:pt x="2026" y="1023"/>
                  </a:lnTo>
                  <a:lnTo>
                    <a:pt x="2023" y="1112"/>
                  </a:lnTo>
                  <a:lnTo>
                    <a:pt x="2011" y="1198"/>
                  </a:lnTo>
                  <a:lnTo>
                    <a:pt x="1993" y="1282"/>
                  </a:lnTo>
                  <a:lnTo>
                    <a:pt x="1969" y="1363"/>
                  </a:lnTo>
                  <a:lnTo>
                    <a:pt x="1938" y="1441"/>
                  </a:lnTo>
                  <a:lnTo>
                    <a:pt x="1900" y="1516"/>
                  </a:lnTo>
                  <a:lnTo>
                    <a:pt x="1857" y="1587"/>
                  </a:lnTo>
                  <a:lnTo>
                    <a:pt x="1808" y="1654"/>
                  </a:lnTo>
                  <a:lnTo>
                    <a:pt x="1755" y="1717"/>
                  </a:lnTo>
                  <a:lnTo>
                    <a:pt x="1697" y="1776"/>
                  </a:lnTo>
                  <a:lnTo>
                    <a:pt x="1633" y="1829"/>
                  </a:lnTo>
                  <a:lnTo>
                    <a:pt x="1566" y="1878"/>
                  </a:lnTo>
                  <a:lnTo>
                    <a:pt x="1495" y="1921"/>
                  </a:lnTo>
                  <a:lnTo>
                    <a:pt x="1420" y="1959"/>
                  </a:lnTo>
                  <a:lnTo>
                    <a:pt x="1342" y="1990"/>
                  </a:lnTo>
                  <a:lnTo>
                    <a:pt x="1261" y="2014"/>
                  </a:lnTo>
                  <a:lnTo>
                    <a:pt x="1177" y="2032"/>
                  </a:lnTo>
                  <a:lnTo>
                    <a:pt x="1091" y="2044"/>
                  </a:lnTo>
                  <a:lnTo>
                    <a:pt x="1003" y="2047"/>
                  </a:lnTo>
                  <a:lnTo>
                    <a:pt x="923" y="2044"/>
                  </a:lnTo>
                  <a:lnTo>
                    <a:pt x="844" y="2036"/>
                  </a:lnTo>
                  <a:lnTo>
                    <a:pt x="767" y="2020"/>
                  </a:lnTo>
                  <a:lnTo>
                    <a:pt x="692" y="1999"/>
                  </a:lnTo>
                  <a:lnTo>
                    <a:pt x="619" y="1972"/>
                  </a:lnTo>
                  <a:lnTo>
                    <a:pt x="548" y="1940"/>
                  </a:lnTo>
                  <a:lnTo>
                    <a:pt x="481" y="1904"/>
                  </a:lnTo>
                  <a:lnTo>
                    <a:pt x="417" y="1862"/>
                  </a:lnTo>
                  <a:lnTo>
                    <a:pt x="355" y="1816"/>
                  </a:lnTo>
                  <a:lnTo>
                    <a:pt x="298" y="1766"/>
                  </a:lnTo>
                  <a:lnTo>
                    <a:pt x="245" y="1710"/>
                  </a:lnTo>
                  <a:lnTo>
                    <a:pt x="195" y="1651"/>
                  </a:lnTo>
                  <a:lnTo>
                    <a:pt x="150" y="1589"/>
                  </a:lnTo>
                  <a:lnTo>
                    <a:pt x="109" y="1523"/>
                  </a:lnTo>
                  <a:lnTo>
                    <a:pt x="74" y="1454"/>
                  </a:lnTo>
                  <a:lnTo>
                    <a:pt x="43" y="1382"/>
                  </a:lnTo>
                  <a:lnTo>
                    <a:pt x="19" y="1306"/>
                  </a:lnTo>
                  <a:lnTo>
                    <a:pt x="0" y="1228"/>
                  </a:lnTo>
                  <a:lnTo>
                    <a:pt x="126" y="1203"/>
                  </a:lnTo>
                  <a:lnTo>
                    <a:pt x="145" y="1279"/>
                  </a:lnTo>
                  <a:lnTo>
                    <a:pt x="169" y="1352"/>
                  </a:lnTo>
                  <a:lnTo>
                    <a:pt x="201" y="1423"/>
                  </a:lnTo>
                  <a:lnTo>
                    <a:pt x="239" y="1490"/>
                  </a:lnTo>
                  <a:lnTo>
                    <a:pt x="281" y="1552"/>
                  </a:lnTo>
                  <a:lnTo>
                    <a:pt x="328" y="1613"/>
                  </a:lnTo>
                  <a:lnTo>
                    <a:pt x="380" y="1667"/>
                  </a:lnTo>
                  <a:lnTo>
                    <a:pt x="437" y="1716"/>
                  </a:lnTo>
                  <a:lnTo>
                    <a:pt x="497" y="1762"/>
                  </a:lnTo>
                  <a:lnTo>
                    <a:pt x="561" y="1802"/>
                  </a:lnTo>
                  <a:lnTo>
                    <a:pt x="629" y="1836"/>
                  </a:lnTo>
                  <a:lnTo>
                    <a:pt x="699" y="1866"/>
                  </a:lnTo>
                  <a:lnTo>
                    <a:pt x="771" y="1889"/>
                  </a:lnTo>
                  <a:lnTo>
                    <a:pt x="846" y="1906"/>
                  </a:lnTo>
                  <a:lnTo>
                    <a:pt x="924" y="1915"/>
                  </a:lnTo>
                  <a:lnTo>
                    <a:pt x="1003" y="1919"/>
                  </a:lnTo>
                  <a:lnTo>
                    <a:pt x="1084" y="1915"/>
                  </a:lnTo>
                  <a:lnTo>
                    <a:pt x="1163" y="1905"/>
                  </a:lnTo>
                  <a:lnTo>
                    <a:pt x="1241" y="1887"/>
                  </a:lnTo>
                  <a:lnTo>
                    <a:pt x="1315" y="1864"/>
                  </a:lnTo>
                  <a:lnTo>
                    <a:pt x="1387" y="1833"/>
                  </a:lnTo>
                  <a:lnTo>
                    <a:pt x="1454" y="1796"/>
                  </a:lnTo>
                  <a:lnTo>
                    <a:pt x="1519" y="1755"/>
                  </a:lnTo>
                  <a:lnTo>
                    <a:pt x="1580" y="1708"/>
                  </a:lnTo>
                  <a:lnTo>
                    <a:pt x="1635" y="1656"/>
                  </a:lnTo>
                  <a:lnTo>
                    <a:pt x="1687" y="1601"/>
                  </a:lnTo>
                  <a:lnTo>
                    <a:pt x="1734" y="1540"/>
                  </a:lnTo>
                  <a:lnTo>
                    <a:pt x="1776" y="1476"/>
                  </a:lnTo>
                  <a:lnTo>
                    <a:pt x="1812" y="1408"/>
                  </a:lnTo>
                  <a:lnTo>
                    <a:pt x="1843" y="1336"/>
                  </a:lnTo>
                  <a:lnTo>
                    <a:pt x="1866" y="1261"/>
                  </a:lnTo>
                  <a:lnTo>
                    <a:pt x="1884" y="1184"/>
                  </a:lnTo>
                  <a:lnTo>
                    <a:pt x="1894" y="1105"/>
                  </a:lnTo>
                  <a:lnTo>
                    <a:pt x="1898" y="1023"/>
                  </a:lnTo>
                  <a:lnTo>
                    <a:pt x="1894" y="942"/>
                  </a:lnTo>
                  <a:lnTo>
                    <a:pt x="1884" y="862"/>
                  </a:lnTo>
                  <a:lnTo>
                    <a:pt x="1866" y="785"/>
                  </a:lnTo>
                  <a:lnTo>
                    <a:pt x="1843" y="711"/>
                  </a:lnTo>
                  <a:lnTo>
                    <a:pt x="1812" y="639"/>
                  </a:lnTo>
                  <a:lnTo>
                    <a:pt x="1776" y="571"/>
                  </a:lnTo>
                  <a:lnTo>
                    <a:pt x="1734" y="507"/>
                  </a:lnTo>
                  <a:lnTo>
                    <a:pt x="1687" y="446"/>
                  </a:lnTo>
                  <a:lnTo>
                    <a:pt x="1635" y="390"/>
                  </a:lnTo>
                  <a:lnTo>
                    <a:pt x="1580" y="339"/>
                  </a:lnTo>
                  <a:lnTo>
                    <a:pt x="1519" y="292"/>
                  </a:lnTo>
                  <a:lnTo>
                    <a:pt x="1454" y="249"/>
                  </a:lnTo>
                  <a:lnTo>
                    <a:pt x="1387" y="214"/>
                  </a:lnTo>
                  <a:lnTo>
                    <a:pt x="1315" y="183"/>
                  </a:lnTo>
                  <a:lnTo>
                    <a:pt x="1241" y="160"/>
                  </a:lnTo>
                  <a:lnTo>
                    <a:pt x="1163" y="142"/>
                  </a:lnTo>
                  <a:lnTo>
                    <a:pt x="1084" y="132"/>
                  </a:lnTo>
                  <a:lnTo>
                    <a:pt x="1003" y="127"/>
                  </a:lnTo>
                  <a:lnTo>
                    <a:pt x="924" y="130"/>
                  </a:lnTo>
                  <a:lnTo>
                    <a:pt x="846" y="141"/>
                  </a:lnTo>
                  <a:lnTo>
                    <a:pt x="771" y="158"/>
                  </a:lnTo>
                  <a:lnTo>
                    <a:pt x="699" y="181"/>
                  </a:lnTo>
                  <a:lnTo>
                    <a:pt x="629" y="211"/>
                  </a:lnTo>
                  <a:lnTo>
                    <a:pt x="561" y="245"/>
                  </a:lnTo>
                  <a:lnTo>
                    <a:pt x="497" y="285"/>
                  </a:lnTo>
                  <a:lnTo>
                    <a:pt x="437" y="330"/>
                  </a:lnTo>
                  <a:lnTo>
                    <a:pt x="380" y="380"/>
                  </a:lnTo>
                  <a:lnTo>
                    <a:pt x="328" y="434"/>
                  </a:lnTo>
                  <a:lnTo>
                    <a:pt x="281" y="494"/>
                  </a:lnTo>
                  <a:lnTo>
                    <a:pt x="239" y="557"/>
                  </a:lnTo>
                  <a:lnTo>
                    <a:pt x="201" y="624"/>
                  </a:lnTo>
                  <a:lnTo>
                    <a:pt x="169" y="694"/>
                  </a:lnTo>
                  <a:lnTo>
                    <a:pt x="145" y="768"/>
                  </a:lnTo>
                  <a:lnTo>
                    <a:pt x="126" y="844"/>
                  </a:lnTo>
                  <a:lnTo>
                    <a:pt x="0" y="818"/>
                  </a:lnTo>
                  <a:lnTo>
                    <a:pt x="19" y="741"/>
                  </a:lnTo>
                  <a:lnTo>
                    <a:pt x="43" y="665"/>
                  </a:lnTo>
                  <a:lnTo>
                    <a:pt x="74" y="593"/>
                  </a:lnTo>
                  <a:lnTo>
                    <a:pt x="109" y="524"/>
                  </a:lnTo>
                  <a:lnTo>
                    <a:pt x="150" y="458"/>
                  </a:lnTo>
                  <a:lnTo>
                    <a:pt x="195" y="396"/>
                  </a:lnTo>
                  <a:lnTo>
                    <a:pt x="245" y="337"/>
                  </a:lnTo>
                  <a:lnTo>
                    <a:pt x="298" y="281"/>
                  </a:lnTo>
                  <a:lnTo>
                    <a:pt x="355" y="231"/>
                  </a:lnTo>
                  <a:lnTo>
                    <a:pt x="417" y="185"/>
                  </a:lnTo>
                  <a:lnTo>
                    <a:pt x="481" y="143"/>
                  </a:lnTo>
                  <a:lnTo>
                    <a:pt x="548" y="107"/>
                  </a:lnTo>
                  <a:lnTo>
                    <a:pt x="619" y="75"/>
                  </a:lnTo>
                  <a:lnTo>
                    <a:pt x="692" y="48"/>
                  </a:lnTo>
                  <a:lnTo>
                    <a:pt x="767" y="27"/>
                  </a:lnTo>
                  <a:lnTo>
                    <a:pt x="844" y="11"/>
                  </a:lnTo>
                  <a:lnTo>
                    <a:pt x="923" y="3"/>
                  </a:lnTo>
                  <a:lnTo>
                    <a:pt x="10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/>
            </a:p>
          </p:txBody>
        </p:sp>
        <p:sp>
          <p:nvSpPr>
            <p:cNvPr id="236" name="Freeform 328">
              <a:extLst>
                <a:ext uri="{FF2B5EF4-FFF2-40B4-BE49-F238E27FC236}">
                  <a16:creationId xmlns:a16="http://schemas.microsoft.com/office/drawing/2014/main" id="{3404699A-2140-D461-9831-637B0FD70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0271" y="2974202"/>
              <a:ext cx="999135" cy="1038776"/>
            </a:xfrm>
            <a:custGeom>
              <a:avLst/>
              <a:gdLst>
                <a:gd name="T0" fmla="*/ 595 w 1109"/>
                <a:gd name="T1" fmla="*/ 4 h 1153"/>
                <a:gd name="T2" fmla="*/ 714 w 1109"/>
                <a:gd name="T3" fmla="*/ 30 h 1153"/>
                <a:gd name="T4" fmla="*/ 823 w 1109"/>
                <a:gd name="T5" fmla="*/ 79 h 1153"/>
                <a:gd name="T6" fmla="*/ 918 w 1109"/>
                <a:gd name="T7" fmla="*/ 149 h 1153"/>
                <a:gd name="T8" fmla="*/ 997 w 1109"/>
                <a:gd name="T9" fmla="*/ 236 h 1153"/>
                <a:gd name="T10" fmla="*/ 1057 w 1109"/>
                <a:gd name="T11" fmla="*/ 338 h 1153"/>
                <a:gd name="T12" fmla="*/ 1095 w 1109"/>
                <a:gd name="T13" fmla="*/ 453 h 1153"/>
                <a:gd name="T14" fmla="*/ 1109 w 1109"/>
                <a:gd name="T15" fmla="*/ 576 h 1153"/>
                <a:gd name="T16" fmla="*/ 1095 w 1109"/>
                <a:gd name="T17" fmla="*/ 700 h 1153"/>
                <a:gd name="T18" fmla="*/ 1057 w 1109"/>
                <a:gd name="T19" fmla="*/ 814 h 1153"/>
                <a:gd name="T20" fmla="*/ 997 w 1109"/>
                <a:gd name="T21" fmla="*/ 917 h 1153"/>
                <a:gd name="T22" fmla="*/ 918 w 1109"/>
                <a:gd name="T23" fmla="*/ 1004 h 1153"/>
                <a:gd name="T24" fmla="*/ 823 w 1109"/>
                <a:gd name="T25" fmla="*/ 1074 h 1153"/>
                <a:gd name="T26" fmla="*/ 714 w 1109"/>
                <a:gd name="T27" fmla="*/ 1123 h 1153"/>
                <a:gd name="T28" fmla="*/ 595 w 1109"/>
                <a:gd name="T29" fmla="*/ 1149 h 1153"/>
                <a:gd name="T30" fmla="*/ 474 w 1109"/>
                <a:gd name="T31" fmla="*/ 1149 h 1153"/>
                <a:gd name="T32" fmla="*/ 362 w 1109"/>
                <a:gd name="T33" fmla="*/ 1127 h 1153"/>
                <a:gd name="T34" fmla="*/ 259 w 1109"/>
                <a:gd name="T35" fmla="*/ 1083 h 1153"/>
                <a:gd name="T36" fmla="*/ 166 w 1109"/>
                <a:gd name="T37" fmla="*/ 1021 h 1153"/>
                <a:gd name="T38" fmla="*/ 87 w 1109"/>
                <a:gd name="T39" fmla="*/ 941 h 1153"/>
                <a:gd name="T40" fmla="*/ 24 w 1109"/>
                <a:gd name="T41" fmla="*/ 845 h 1153"/>
                <a:gd name="T42" fmla="*/ 118 w 1109"/>
                <a:gd name="T43" fmla="*/ 745 h 1153"/>
                <a:gd name="T44" fmla="*/ 170 w 1109"/>
                <a:gd name="T45" fmla="*/ 839 h 1153"/>
                <a:gd name="T46" fmla="*/ 241 w 1109"/>
                <a:gd name="T47" fmla="*/ 917 h 1153"/>
                <a:gd name="T48" fmla="*/ 328 w 1109"/>
                <a:gd name="T49" fmla="*/ 975 h 1153"/>
                <a:gd name="T50" fmla="*/ 426 w 1109"/>
                <a:gd name="T51" fmla="*/ 1011 h 1153"/>
                <a:gd name="T52" fmla="*/ 533 w 1109"/>
                <a:gd name="T53" fmla="*/ 1024 h 1153"/>
                <a:gd name="T54" fmla="*/ 643 w 1109"/>
                <a:gd name="T55" fmla="*/ 1011 h 1153"/>
                <a:gd name="T56" fmla="*/ 744 w 1109"/>
                <a:gd name="T57" fmla="*/ 972 h 1153"/>
                <a:gd name="T58" fmla="*/ 830 w 1109"/>
                <a:gd name="T59" fmla="*/ 911 h 1153"/>
                <a:gd name="T60" fmla="*/ 900 w 1109"/>
                <a:gd name="T61" fmla="*/ 832 h 1153"/>
                <a:gd name="T62" fmla="*/ 951 w 1109"/>
                <a:gd name="T63" fmla="*/ 738 h 1153"/>
                <a:gd name="T64" fmla="*/ 977 w 1109"/>
                <a:gd name="T65" fmla="*/ 633 h 1153"/>
                <a:gd name="T66" fmla="*/ 977 w 1109"/>
                <a:gd name="T67" fmla="*/ 520 h 1153"/>
                <a:gd name="T68" fmla="*/ 951 w 1109"/>
                <a:gd name="T69" fmla="*/ 415 h 1153"/>
                <a:gd name="T70" fmla="*/ 900 w 1109"/>
                <a:gd name="T71" fmla="*/ 321 h 1153"/>
                <a:gd name="T72" fmla="*/ 830 w 1109"/>
                <a:gd name="T73" fmla="*/ 242 h 1153"/>
                <a:gd name="T74" fmla="*/ 744 w 1109"/>
                <a:gd name="T75" fmla="*/ 181 h 1153"/>
                <a:gd name="T76" fmla="*/ 643 w 1109"/>
                <a:gd name="T77" fmla="*/ 142 h 1153"/>
                <a:gd name="T78" fmla="*/ 533 w 1109"/>
                <a:gd name="T79" fmla="*/ 129 h 1153"/>
                <a:gd name="T80" fmla="*/ 426 w 1109"/>
                <a:gd name="T81" fmla="*/ 142 h 1153"/>
                <a:gd name="T82" fmla="*/ 328 w 1109"/>
                <a:gd name="T83" fmla="*/ 178 h 1153"/>
                <a:gd name="T84" fmla="*/ 241 w 1109"/>
                <a:gd name="T85" fmla="*/ 236 h 1153"/>
                <a:gd name="T86" fmla="*/ 170 w 1109"/>
                <a:gd name="T87" fmla="*/ 314 h 1153"/>
                <a:gd name="T88" fmla="*/ 118 w 1109"/>
                <a:gd name="T89" fmla="*/ 408 h 1153"/>
                <a:gd name="T90" fmla="*/ 24 w 1109"/>
                <a:gd name="T91" fmla="*/ 308 h 1153"/>
                <a:gd name="T92" fmla="*/ 87 w 1109"/>
                <a:gd name="T93" fmla="*/ 212 h 1153"/>
                <a:gd name="T94" fmla="*/ 166 w 1109"/>
                <a:gd name="T95" fmla="*/ 132 h 1153"/>
                <a:gd name="T96" fmla="*/ 259 w 1109"/>
                <a:gd name="T97" fmla="*/ 70 h 1153"/>
                <a:gd name="T98" fmla="*/ 362 w 1109"/>
                <a:gd name="T99" fmla="*/ 26 h 1153"/>
                <a:gd name="T100" fmla="*/ 474 w 1109"/>
                <a:gd name="T101" fmla="*/ 4 h 1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09" h="1153">
                  <a:moveTo>
                    <a:pt x="533" y="0"/>
                  </a:moveTo>
                  <a:lnTo>
                    <a:pt x="595" y="4"/>
                  </a:lnTo>
                  <a:lnTo>
                    <a:pt x="657" y="13"/>
                  </a:lnTo>
                  <a:lnTo>
                    <a:pt x="714" y="30"/>
                  </a:lnTo>
                  <a:lnTo>
                    <a:pt x="771" y="52"/>
                  </a:lnTo>
                  <a:lnTo>
                    <a:pt x="823" y="79"/>
                  </a:lnTo>
                  <a:lnTo>
                    <a:pt x="872" y="112"/>
                  </a:lnTo>
                  <a:lnTo>
                    <a:pt x="918" y="149"/>
                  </a:lnTo>
                  <a:lnTo>
                    <a:pt x="960" y="191"/>
                  </a:lnTo>
                  <a:lnTo>
                    <a:pt x="997" y="236"/>
                  </a:lnTo>
                  <a:lnTo>
                    <a:pt x="1030" y="285"/>
                  </a:lnTo>
                  <a:lnTo>
                    <a:pt x="1057" y="338"/>
                  </a:lnTo>
                  <a:lnTo>
                    <a:pt x="1079" y="395"/>
                  </a:lnTo>
                  <a:lnTo>
                    <a:pt x="1095" y="453"/>
                  </a:lnTo>
                  <a:lnTo>
                    <a:pt x="1105" y="514"/>
                  </a:lnTo>
                  <a:lnTo>
                    <a:pt x="1109" y="576"/>
                  </a:lnTo>
                  <a:lnTo>
                    <a:pt x="1105" y="639"/>
                  </a:lnTo>
                  <a:lnTo>
                    <a:pt x="1095" y="700"/>
                  </a:lnTo>
                  <a:lnTo>
                    <a:pt x="1079" y="758"/>
                  </a:lnTo>
                  <a:lnTo>
                    <a:pt x="1057" y="814"/>
                  </a:lnTo>
                  <a:lnTo>
                    <a:pt x="1030" y="867"/>
                  </a:lnTo>
                  <a:lnTo>
                    <a:pt x="997" y="917"/>
                  </a:lnTo>
                  <a:lnTo>
                    <a:pt x="960" y="962"/>
                  </a:lnTo>
                  <a:lnTo>
                    <a:pt x="918" y="1004"/>
                  </a:lnTo>
                  <a:lnTo>
                    <a:pt x="872" y="1041"/>
                  </a:lnTo>
                  <a:lnTo>
                    <a:pt x="823" y="1074"/>
                  </a:lnTo>
                  <a:lnTo>
                    <a:pt x="771" y="1101"/>
                  </a:lnTo>
                  <a:lnTo>
                    <a:pt x="714" y="1123"/>
                  </a:lnTo>
                  <a:lnTo>
                    <a:pt x="657" y="1140"/>
                  </a:lnTo>
                  <a:lnTo>
                    <a:pt x="595" y="1149"/>
                  </a:lnTo>
                  <a:lnTo>
                    <a:pt x="533" y="1153"/>
                  </a:lnTo>
                  <a:lnTo>
                    <a:pt x="474" y="1149"/>
                  </a:lnTo>
                  <a:lnTo>
                    <a:pt x="418" y="1141"/>
                  </a:lnTo>
                  <a:lnTo>
                    <a:pt x="362" y="1127"/>
                  </a:lnTo>
                  <a:lnTo>
                    <a:pt x="309" y="1108"/>
                  </a:lnTo>
                  <a:lnTo>
                    <a:pt x="259" y="1083"/>
                  </a:lnTo>
                  <a:lnTo>
                    <a:pt x="212" y="1055"/>
                  </a:lnTo>
                  <a:lnTo>
                    <a:pt x="166" y="1021"/>
                  </a:lnTo>
                  <a:lnTo>
                    <a:pt x="124" y="983"/>
                  </a:lnTo>
                  <a:lnTo>
                    <a:pt x="87" y="941"/>
                  </a:lnTo>
                  <a:lnTo>
                    <a:pt x="54" y="895"/>
                  </a:lnTo>
                  <a:lnTo>
                    <a:pt x="24" y="845"/>
                  </a:lnTo>
                  <a:lnTo>
                    <a:pt x="0" y="792"/>
                  </a:lnTo>
                  <a:lnTo>
                    <a:pt x="118" y="745"/>
                  </a:lnTo>
                  <a:lnTo>
                    <a:pt x="141" y="793"/>
                  </a:lnTo>
                  <a:lnTo>
                    <a:pt x="170" y="839"/>
                  </a:lnTo>
                  <a:lnTo>
                    <a:pt x="203" y="880"/>
                  </a:lnTo>
                  <a:lnTo>
                    <a:pt x="241" y="917"/>
                  </a:lnTo>
                  <a:lnTo>
                    <a:pt x="282" y="948"/>
                  </a:lnTo>
                  <a:lnTo>
                    <a:pt x="328" y="975"/>
                  </a:lnTo>
                  <a:lnTo>
                    <a:pt x="375" y="996"/>
                  </a:lnTo>
                  <a:lnTo>
                    <a:pt x="426" y="1011"/>
                  </a:lnTo>
                  <a:lnTo>
                    <a:pt x="479" y="1021"/>
                  </a:lnTo>
                  <a:lnTo>
                    <a:pt x="533" y="1024"/>
                  </a:lnTo>
                  <a:lnTo>
                    <a:pt x="590" y="1021"/>
                  </a:lnTo>
                  <a:lnTo>
                    <a:pt x="643" y="1011"/>
                  </a:lnTo>
                  <a:lnTo>
                    <a:pt x="694" y="995"/>
                  </a:lnTo>
                  <a:lnTo>
                    <a:pt x="744" y="972"/>
                  </a:lnTo>
                  <a:lnTo>
                    <a:pt x="789" y="944"/>
                  </a:lnTo>
                  <a:lnTo>
                    <a:pt x="830" y="911"/>
                  </a:lnTo>
                  <a:lnTo>
                    <a:pt x="867" y="873"/>
                  </a:lnTo>
                  <a:lnTo>
                    <a:pt x="900" y="832"/>
                  </a:lnTo>
                  <a:lnTo>
                    <a:pt x="929" y="787"/>
                  </a:lnTo>
                  <a:lnTo>
                    <a:pt x="951" y="738"/>
                  </a:lnTo>
                  <a:lnTo>
                    <a:pt x="968" y="686"/>
                  </a:lnTo>
                  <a:lnTo>
                    <a:pt x="977" y="633"/>
                  </a:lnTo>
                  <a:lnTo>
                    <a:pt x="980" y="576"/>
                  </a:lnTo>
                  <a:lnTo>
                    <a:pt x="977" y="520"/>
                  </a:lnTo>
                  <a:lnTo>
                    <a:pt x="968" y="466"/>
                  </a:lnTo>
                  <a:lnTo>
                    <a:pt x="951" y="415"/>
                  </a:lnTo>
                  <a:lnTo>
                    <a:pt x="929" y="366"/>
                  </a:lnTo>
                  <a:lnTo>
                    <a:pt x="900" y="321"/>
                  </a:lnTo>
                  <a:lnTo>
                    <a:pt x="867" y="280"/>
                  </a:lnTo>
                  <a:lnTo>
                    <a:pt x="830" y="242"/>
                  </a:lnTo>
                  <a:lnTo>
                    <a:pt x="789" y="209"/>
                  </a:lnTo>
                  <a:lnTo>
                    <a:pt x="744" y="181"/>
                  </a:lnTo>
                  <a:lnTo>
                    <a:pt x="694" y="158"/>
                  </a:lnTo>
                  <a:lnTo>
                    <a:pt x="643" y="142"/>
                  </a:lnTo>
                  <a:lnTo>
                    <a:pt x="590" y="132"/>
                  </a:lnTo>
                  <a:lnTo>
                    <a:pt x="533" y="129"/>
                  </a:lnTo>
                  <a:lnTo>
                    <a:pt x="479" y="131"/>
                  </a:lnTo>
                  <a:lnTo>
                    <a:pt x="426" y="142"/>
                  </a:lnTo>
                  <a:lnTo>
                    <a:pt x="375" y="157"/>
                  </a:lnTo>
                  <a:lnTo>
                    <a:pt x="328" y="178"/>
                  </a:lnTo>
                  <a:lnTo>
                    <a:pt x="282" y="204"/>
                  </a:lnTo>
                  <a:lnTo>
                    <a:pt x="241" y="236"/>
                  </a:lnTo>
                  <a:lnTo>
                    <a:pt x="203" y="273"/>
                  </a:lnTo>
                  <a:lnTo>
                    <a:pt x="170" y="314"/>
                  </a:lnTo>
                  <a:lnTo>
                    <a:pt x="141" y="360"/>
                  </a:lnTo>
                  <a:lnTo>
                    <a:pt x="118" y="408"/>
                  </a:lnTo>
                  <a:lnTo>
                    <a:pt x="0" y="361"/>
                  </a:lnTo>
                  <a:lnTo>
                    <a:pt x="24" y="308"/>
                  </a:lnTo>
                  <a:lnTo>
                    <a:pt x="54" y="258"/>
                  </a:lnTo>
                  <a:lnTo>
                    <a:pt x="87" y="212"/>
                  </a:lnTo>
                  <a:lnTo>
                    <a:pt x="124" y="170"/>
                  </a:lnTo>
                  <a:lnTo>
                    <a:pt x="166" y="132"/>
                  </a:lnTo>
                  <a:lnTo>
                    <a:pt x="212" y="98"/>
                  </a:lnTo>
                  <a:lnTo>
                    <a:pt x="259" y="70"/>
                  </a:lnTo>
                  <a:lnTo>
                    <a:pt x="309" y="45"/>
                  </a:lnTo>
                  <a:lnTo>
                    <a:pt x="362" y="26"/>
                  </a:lnTo>
                  <a:lnTo>
                    <a:pt x="418" y="12"/>
                  </a:lnTo>
                  <a:lnTo>
                    <a:pt x="474" y="4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/>
            </a:p>
          </p:txBody>
        </p:sp>
        <p:sp>
          <p:nvSpPr>
            <p:cNvPr id="237" name="Freeform 329">
              <a:extLst>
                <a:ext uri="{FF2B5EF4-FFF2-40B4-BE49-F238E27FC236}">
                  <a16:creationId xmlns:a16="http://schemas.microsoft.com/office/drawing/2014/main" id="{AD05B7E0-FCE8-AA14-C37D-FD2F99A33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1272" y="3204841"/>
              <a:ext cx="477495" cy="577498"/>
            </a:xfrm>
            <a:custGeom>
              <a:avLst/>
              <a:gdLst>
                <a:gd name="T0" fmla="*/ 257 w 530"/>
                <a:gd name="T1" fmla="*/ 4 h 641"/>
                <a:gd name="T2" fmla="*/ 344 w 530"/>
                <a:gd name="T3" fmla="*/ 31 h 641"/>
                <a:gd name="T4" fmla="*/ 420 w 530"/>
                <a:gd name="T5" fmla="*/ 79 h 641"/>
                <a:gd name="T6" fmla="*/ 478 w 530"/>
                <a:gd name="T7" fmla="*/ 146 h 641"/>
                <a:gd name="T8" fmla="*/ 516 w 530"/>
                <a:gd name="T9" fmla="*/ 229 h 641"/>
                <a:gd name="T10" fmla="*/ 530 w 530"/>
                <a:gd name="T11" fmla="*/ 320 h 641"/>
                <a:gd name="T12" fmla="*/ 516 w 530"/>
                <a:gd name="T13" fmla="*/ 412 h 641"/>
                <a:gd name="T14" fmla="*/ 478 w 530"/>
                <a:gd name="T15" fmla="*/ 495 h 641"/>
                <a:gd name="T16" fmla="*/ 420 w 530"/>
                <a:gd name="T17" fmla="*/ 562 h 641"/>
                <a:gd name="T18" fmla="*/ 344 w 530"/>
                <a:gd name="T19" fmla="*/ 610 h 641"/>
                <a:gd name="T20" fmla="*/ 257 w 530"/>
                <a:gd name="T21" fmla="*/ 637 h 641"/>
                <a:gd name="T22" fmla="*/ 164 w 530"/>
                <a:gd name="T23" fmla="*/ 637 h 641"/>
                <a:gd name="T24" fmla="*/ 77 w 530"/>
                <a:gd name="T25" fmla="*/ 611 h 641"/>
                <a:gd name="T26" fmla="*/ 0 w 530"/>
                <a:gd name="T27" fmla="*/ 561 h 641"/>
                <a:gd name="T28" fmla="*/ 98 w 530"/>
                <a:gd name="T29" fmla="*/ 476 h 641"/>
                <a:gd name="T30" fmla="*/ 135 w 530"/>
                <a:gd name="T31" fmla="*/ 496 h 641"/>
                <a:gd name="T32" fmla="*/ 182 w 530"/>
                <a:gd name="T33" fmla="*/ 510 h 641"/>
                <a:gd name="T34" fmla="*/ 244 w 530"/>
                <a:gd name="T35" fmla="*/ 509 h 641"/>
                <a:gd name="T36" fmla="*/ 307 w 530"/>
                <a:gd name="T37" fmla="*/ 487 h 641"/>
                <a:gd name="T38" fmla="*/ 356 w 530"/>
                <a:gd name="T39" fmla="*/ 444 h 641"/>
                <a:gd name="T40" fmla="*/ 390 w 530"/>
                <a:gd name="T41" fmla="*/ 388 h 641"/>
                <a:gd name="T42" fmla="*/ 402 w 530"/>
                <a:gd name="T43" fmla="*/ 320 h 641"/>
                <a:gd name="T44" fmla="*/ 390 w 530"/>
                <a:gd name="T45" fmla="*/ 253 h 641"/>
                <a:gd name="T46" fmla="*/ 356 w 530"/>
                <a:gd name="T47" fmla="*/ 197 h 641"/>
                <a:gd name="T48" fmla="*/ 307 w 530"/>
                <a:gd name="T49" fmla="*/ 154 h 641"/>
                <a:gd name="T50" fmla="*/ 244 w 530"/>
                <a:gd name="T51" fmla="*/ 132 h 641"/>
                <a:gd name="T52" fmla="*/ 182 w 530"/>
                <a:gd name="T53" fmla="*/ 131 h 641"/>
                <a:gd name="T54" fmla="*/ 135 w 530"/>
                <a:gd name="T55" fmla="*/ 144 h 641"/>
                <a:gd name="T56" fmla="*/ 98 w 530"/>
                <a:gd name="T57" fmla="*/ 165 h 641"/>
                <a:gd name="T58" fmla="*/ 0 w 530"/>
                <a:gd name="T59" fmla="*/ 80 h 641"/>
                <a:gd name="T60" fmla="*/ 77 w 530"/>
                <a:gd name="T61" fmla="*/ 29 h 641"/>
                <a:gd name="T62" fmla="*/ 164 w 530"/>
                <a:gd name="T63" fmla="*/ 4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30" h="641">
                  <a:moveTo>
                    <a:pt x="210" y="0"/>
                  </a:moveTo>
                  <a:lnTo>
                    <a:pt x="257" y="4"/>
                  </a:lnTo>
                  <a:lnTo>
                    <a:pt x="302" y="14"/>
                  </a:lnTo>
                  <a:lnTo>
                    <a:pt x="344" y="31"/>
                  </a:lnTo>
                  <a:lnTo>
                    <a:pt x="384" y="52"/>
                  </a:lnTo>
                  <a:lnTo>
                    <a:pt x="420" y="79"/>
                  </a:lnTo>
                  <a:lnTo>
                    <a:pt x="451" y="111"/>
                  </a:lnTo>
                  <a:lnTo>
                    <a:pt x="478" y="146"/>
                  </a:lnTo>
                  <a:lnTo>
                    <a:pt x="500" y="186"/>
                  </a:lnTo>
                  <a:lnTo>
                    <a:pt x="516" y="229"/>
                  </a:lnTo>
                  <a:lnTo>
                    <a:pt x="527" y="273"/>
                  </a:lnTo>
                  <a:lnTo>
                    <a:pt x="530" y="320"/>
                  </a:lnTo>
                  <a:lnTo>
                    <a:pt x="527" y="368"/>
                  </a:lnTo>
                  <a:lnTo>
                    <a:pt x="516" y="412"/>
                  </a:lnTo>
                  <a:lnTo>
                    <a:pt x="500" y="455"/>
                  </a:lnTo>
                  <a:lnTo>
                    <a:pt x="478" y="495"/>
                  </a:lnTo>
                  <a:lnTo>
                    <a:pt x="451" y="530"/>
                  </a:lnTo>
                  <a:lnTo>
                    <a:pt x="420" y="562"/>
                  </a:lnTo>
                  <a:lnTo>
                    <a:pt x="384" y="589"/>
                  </a:lnTo>
                  <a:lnTo>
                    <a:pt x="344" y="610"/>
                  </a:lnTo>
                  <a:lnTo>
                    <a:pt x="302" y="627"/>
                  </a:lnTo>
                  <a:lnTo>
                    <a:pt x="257" y="637"/>
                  </a:lnTo>
                  <a:lnTo>
                    <a:pt x="210" y="641"/>
                  </a:lnTo>
                  <a:lnTo>
                    <a:pt x="164" y="637"/>
                  </a:lnTo>
                  <a:lnTo>
                    <a:pt x="121" y="627"/>
                  </a:lnTo>
                  <a:lnTo>
                    <a:pt x="77" y="611"/>
                  </a:lnTo>
                  <a:lnTo>
                    <a:pt x="37" y="589"/>
                  </a:lnTo>
                  <a:lnTo>
                    <a:pt x="0" y="561"/>
                  </a:lnTo>
                  <a:lnTo>
                    <a:pt x="84" y="464"/>
                  </a:lnTo>
                  <a:lnTo>
                    <a:pt x="98" y="476"/>
                  </a:lnTo>
                  <a:lnTo>
                    <a:pt x="115" y="487"/>
                  </a:lnTo>
                  <a:lnTo>
                    <a:pt x="135" y="496"/>
                  </a:lnTo>
                  <a:lnTo>
                    <a:pt x="157" y="504"/>
                  </a:lnTo>
                  <a:lnTo>
                    <a:pt x="182" y="510"/>
                  </a:lnTo>
                  <a:lnTo>
                    <a:pt x="210" y="513"/>
                  </a:lnTo>
                  <a:lnTo>
                    <a:pt x="244" y="509"/>
                  </a:lnTo>
                  <a:lnTo>
                    <a:pt x="277" y="501"/>
                  </a:lnTo>
                  <a:lnTo>
                    <a:pt x="307" y="487"/>
                  </a:lnTo>
                  <a:lnTo>
                    <a:pt x="334" y="468"/>
                  </a:lnTo>
                  <a:lnTo>
                    <a:pt x="356" y="444"/>
                  </a:lnTo>
                  <a:lnTo>
                    <a:pt x="376" y="417"/>
                  </a:lnTo>
                  <a:lnTo>
                    <a:pt x="390" y="388"/>
                  </a:lnTo>
                  <a:lnTo>
                    <a:pt x="398" y="355"/>
                  </a:lnTo>
                  <a:lnTo>
                    <a:pt x="402" y="320"/>
                  </a:lnTo>
                  <a:lnTo>
                    <a:pt x="398" y="286"/>
                  </a:lnTo>
                  <a:lnTo>
                    <a:pt x="390" y="253"/>
                  </a:lnTo>
                  <a:lnTo>
                    <a:pt x="376" y="224"/>
                  </a:lnTo>
                  <a:lnTo>
                    <a:pt x="356" y="197"/>
                  </a:lnTo>
                  <a:lnTo>
                    <a:pt x="334" y="173"/>
                  </a:lnTo>
                  <a:lnTo>
                    <a:pt x="307" y="154"/>
                  </a:lnTo>
                  <a:lnTo>
                    <a:pt x="277" y="140"/>
                  </a:lnTo>
                  <a:lnTo>
                    <a:pt x="244" y="132"/>
                  </a:lnTo>
                  <a:lnTo>
                    <a:pt x="210" y="128"/>
                  </a:lnTo>
                  <a:lnTo>
                    <a:pt x="182" y="131"/>
                  </a:lnTo>
                  <a:lnTo>
                    <a:pt x="157" y="136"/>
                  </a:lnTo>
                  <a:lnTo>
                    <a:pt x="135" y="144"/>
                  </a:lnTo>
                  <a:lnTo>
                    <a:pt x="115" y="154"/>
                  </a:lnTo>
                  <a:lnTo>
                    <a:pt x="98" y="165"/>
                  </a:lnTo>
                  <a:lnTo>
                    <a:pt x="84" y="177"/>
                  </a:lnTo>
                  <a:lnTo>
                    <a:pt x="0" y="80"/>
                  </a:lnTo>
                  <a:lnTo>
                    <a:pt x="37" y="52"/>
                  </a:lnTo>
                  <a:lnTo>
                    <a:pt x="77" y="29"/>
                  </a:lnTo>
                  <a:lnTo>
                    <a:pt x="121" y="14"/>
                  </a:lnTo>
                  <a:lnTo>
                    <a:pt x="164" y="4"/>
                  </a:lnTo>
                  <a:lnTo>
                    <a:pt x="2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/>
            </a:p>
          </p:txBody>
        </p:sp>
        <p:sp>
          <p:nvSpPr>
            <p:cNvPr id="238" name="Freeform 330">
              <a:extLst>
                <a:ext uri="{FF2B5EF4-FFF2-40B4-BE49-F238E27FC236}">
                  <a16:creationId xmlns:a16="http://schemas.microsoft.com/office/drawing/2014/main" id="{04EF9DD5-348A-D190-0CA3-621A09407B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1678" y="1994887"/>
              <a:ext cx="2937043" cy="3497424"/>
            </a:xfrm>
            <a:custGeom>
              <a:avLst/>
              <a:gdLst>
                <a:gd name="T0" fmla="*/ 638 w 3260"/>
                <a:gd name="T1" fmla="*/ 3697 h 3882"/>
                <a:gd name="T2" fmla="*/ 689 w 3260"/>
                <a:gd name="T3" fmla="*/ 3751 h 3882"/>
                <a:gd name="T4" fmla="*/ 755 w 3260"/>
                <a:gd name="T5" fmla="*/ 3731 h 3882"/>
                <a:gd name="T6" fmla="*/ 870 w 3260"/>
                <a:gd name="T7" fmla="*/ 3157 h 3882"/>
                <a:gd name="T8" fmla="*/ 2439 w 3260"/>
                <a:gd name="T9" fmla="*/ 3716 h 3882"/>
                <a:gd name="T10" fmla="*/ 2497 w 3260"/>
                <a:gd name="T11" fmla="*/ 3754 h 3882"/>
                <a:gd name="T12" fmla="*/ 2560 w 3260"/>
                <a:gd name="T13" fmla="*/ 3716 h 3882"/>
                <a:gd name="T14" fmla="*/ 2332 w 3260"/>
                <a:gd name="T15" fmla="*/ 3155 h 3882"/>
                <a:gd name="T16" fmla="*/ 1918 w 3260"/>
                <a:gd name="T17" fmla="*/ 31 h 3882"/>
                <a:gd name="T18" fmla="*/ 2314 w 3260"/>
                <a:gd name="T19" fmla="*/ 162 h 3882"/>
                <a:gd name="T20" fmla="*/ 2659 w 3260"/>
                <a:gd name="T21" fmla="*/ 384 h 3882"/>
                <a:gd name="T22" fmla="*/ 2938 w 3260"/>
                <a:gd name="T23" fmla="*/ 681 h 3882"/>
                <a:gd name="T24" fmla="*/ 3140 w 3260"/>
                <a:gd name="T25" fmla="*/ 1040 h 3882"/>
                <a:gd name="T26" fmla="*/ 3246 w 3260"/>
                <a:gd name="T27" fmla="*/ 1447 h 3882"/>
                <a:gd name="T28" fmla="*/ 3247 w 3260"/>
                <a:gd name="T29" fmla="*/ 1874 h 3882"/>
                <a:gd name="T30" fmla="*/ 3146 w 3260"/>
                <a:gd name="T31" fmla="*/ 2271 h 3882"/>
                <a:gd name="T32" fmla="*/ 2954 w 3260"/>
                <a:gd name="T33" fmla="*/ 2624 h 3882"/>
                <a:gd name="T34" fmla="*/ 2687 w 3260"/>
                <a:gd name="T35" fmla="*/ 2918 h 3882"/>
                <a:gd name="T36" fmla="*/ 2677 w 3260"/>
                <a:gd name="T37" fmla="*/ 3605 h 3882"/>
                <a:gd name="T38" fmla="*/ 2687 w 3260"/>
                <a:gd name="T39" fmla="*/ 3738 h 3882"/>
                <a:gd name="T40" fmla="*/ 2609 w 3260"/>
                <a:gd name="T41" fmla="*/ 3848 h 3882"/>
                <a:gd name="T42" fmla="*/ 2498 w 3260"/>
                <a:gd name="T43" fmla="*/ 3882 h 3882"/>
                <a:gd name="T44" fmla="*/ 2384 w 3260"/>
                <a:gd name="T45" fmla="*/ 3844 h 3882"/>
                <a:gd name="T46" fmla="*/ 2067 w 3260"/>
                <a:gd name="T47" fmla="*/ 3259 h 3882"/>
                <a:gd name="T48" fmla="*/ 1694 w 3260"/>
                <a:gd name="T49" fmla="*/ 3325 h 3882"/>
                <a:gd name="T50" fmla="*/ 1317 w 3260"/>
                <a:gd name="T51" fmla="*/ 3302 h 3882"/>
                <a:gd name="T52" fmla="*/ 863 w 3260"/>
                <a:gd name="T53" fmla="*/ 3801 h 3882"/>
                <a:gd name="T54" fmla="*/ 766 w 3260"/>
                <a:gd name="T55" fmla="*/ 3873 h 3882"/>
                <a:gd name="T56" fmla="*/ 657 w 3260"/>
                <a:gd name="T57" fmla="*/ 3876 h 3882"/>
                <a:gd name="T58" fmla="*/ 547 w 3260"/>
                <a:gd name="T59" fmla="*/ 3801 h 3882"/>
                <a:gd name="T60" fmla="*/ 510 w 3260"/>
                <a:gd name="T61" fmla="*/ 3671 h 3882"/>
                <a:gd name="T62" fmla="*/ 677 w 3260"/>
                <a:gd name="T63" fmla="*/ 3045 h 3882"/>
                <a:gd name="T64" fmla="*/ 384 w 3260"/>
                <a:gd name="T65" fmla="*/ 2799 h 3882"/>
                <a:gd name="T66" fmla="*/ 154 w 3260"/>
                <a:gd name="T67" fmla="*/ 2491 h 3882"/>
                <a:gd name="T68" fmla="*/ 0 w 3260"/>
                <a:gd name="T69" fmla="*/ 2129 h 3882"/>
                <a:gd name="T70" fmla="*/ 236 w 3260"/>
                <a:gd name="T71" fmla="*/ 2373 h 3882"/>
                <a:gd name="T72" fmla="*/ 461 w 3260"/>
                <a:gd name="T73" fmla="*/ 2694 h 3882"/>
                <a:gd name="T74" fmla="*/ 756 w 3260"/>
                <a:gd name="T75" fmla="*/ 2947 h 3882"/>
                <a:gd name="T76" fmla="*/ 1107 w 3260"/>
                <a:gd name="T77" fmla="*/ 3119 h 3882"/>
                <a:gd name="T78" fmla="*/ 1496 w 3260"/>
                <a:gd name="T79" fmla="*/ 3196 h 3882"/>
                <a:gd name="T80" fmla="*/ 1906 w 3260"/>
                <a:gd name="T81" fmla="*/ 3168 h 3882"/>
                <a:gd name="T82" fmla="*/ 2285 w 3260"/>
                <a:gd name="T83" fmla="*/ 3037 h 3882"/>
                <a:gd name="T84" fmla="*/ 2610 w 3260"/>
                <a:gd name="T85" fmla="*/ 2816 h 3882"/>
                <a:gd name="T86" fmla="*/ 2870 w 3260"/>
                <a:gd name="T87" fmla="*/ 2521 h 3882"/>
                <a:gd name="T88" fmla="*/ 3048 w 3260"/>
                <a:gd name="T89" fmla="*/ 2168 h 3882"/>
                <a:gd name="T90" fmla="*/ 3129 w 3260"/>
                <a:gd name="T91" fmla="*/ 1768 h 3882"/>
                <a:gd name="T92" fmla="*/ 3101 w 3260"/>
                <a:gd name="T93" fmla="*/ 1355 h 3882"/>
                <a:gd name="T94" fmla="*/ 2970 w 3260"/>
                <a:gd name="T95" fmla="*/ 975 h 3882"/>
                <a:gd name="T96" fmla="*/ 2749 w 3260"/>
                <a:gd name="T97" fmla="*/ 649 h 3882"/>
                <a:gd name="T98" fmla="*/ 2454 w 3260"/>
                <a:gd name="T99" fmla="*/ 390 h 3882"/>
                <a:gd name="T100" fmla="*/ 2101 w 3260"/>
                <a:gd name="T101" fmla="*/ 212 h 3882"/>
                <a:gd name="T102" fmla="*/ 1702 w 3260"/>
                <a:gd name="T103" fmla="*/ 131 h 3882"/>
                <a:gd name="T104" fmla="*/ 1298 w 3260"/>
                <a:gd name="T105" fmla="*/ 158 h 3882"/>
                <a:gd name="T106" fmla="*/ 926 w 3260"/>
                <a:gd name="T107" fmla="*/ 284 h 3882"/>
                <a:gd name="T108" fmla="*/ 601 w 3260"/>
                <a:gd name="T109" fmla="*/ 497 h 3882"/>
                <a:gd name="T110" fmla="*/ 338 w 3260"/>
                <a:gd name="T111" fmla="*/ 786 h 3882"/>
                <a:gd name="T112" fmla="*/ 154 w 3260"/>
                <a:gd name="T113" fmla="*/ 1137 h 3882"/>
                <a:gd name="T114" fmla="*/ 71 w 3260"/>
                <a:gd name="T115" fmla="*/ 1003 h 3882"/>
                <a:gd name="T116" fmla="*/ 278 w 3260"/>
                <a:gd name="T117" fmla="*/ 651 h 3882"/>
                <a:gd name="T118" fmla="*/ 561 w 3260"/>
                <a:gd name="T119" fmla="*/ 365 h 3882"/>
                <a:gd name="T120" fmla="*/ 902 w 3260"/>
                <a:gd name="T121" fmla="*/ 153 h 3882"/>
                <a:gd name="T122" fmla="*/ 1287 w 3260"/>
                <a:gd name="T123" fmla="*/ 29 h 3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60" h="3882">
                  <a:moveTo>
                    <a:pt x="870" y="3157"/>
                  </a:moveTo>
                  <a:lnTo>
                    <a:pt x="643" y="3658"/>
                  </a:lnTo>
                  <a:lnTo>
                    <a:pt x="638" y="3677"/>
                  </a:lnTo>
                  <a:lnTo>
                    <a:pt x="638" y="3697"/>
                  </a:lnTo>
                  <a:lnTo>
                    <a:pt x="644" y="3716"/>
                  </a:lnTo>
                  <a:lnTo>
                    <a:pt x="655" y="3732"/>
                  </a:lnTo>
                  <a:lnTo>
                    <a:pt x="670" y="3744"/>
                  </a:lnTo>
                  <a:lnTo>
                    <a:pt x="689" y="3751"/>
                  </a:lnTo>
                  <a:lnTo>
                    <a:pt x="707" y="3754"/>
                  </a:lnTo>
                  <a:lnTo>
                    <a:pt x="726" y="3751"/>
                  </a:lnTo>
                  <a:lnTo>
                    <a:pt x="741" y="3743"/>
                  </a:lnTo>
                  <a:lnTo>
                    <a:pt x="755" y="3731"/>
                  </a:lnTo>
                  <a:lnTo>
                    <a:pt x="766" y="3716"/>
                  </a:lnTo>
                  <a:lnTo>
                    <a:pt x="1014" y="3220"/>
                  </a:lnTo>
                  <a:lnTo>
                    <a:pt x="942" y="3190"/>
                  </a:lnTo>
                  <a:lnTo>
                    <a:pt x="870" y="3157"/>
                  </a:lnTo>
                  <a:close/>
                  <a:moveTo>
                    <a:pt x="2332" y="3155"/>
                  </a:moveTo>
                  <a:lnTo>
                    <a:pt x="2262" y="3188"/>
                  </a:lnTo>
                  <a:lnTo>
                    <a:pt x="2189" y="3218"/>
                  </a:lnTo>
                  <a:lnTo>
                    <a:pt x="2439" y="3716"/>
                  </a:lnTo>
                  <a:lnTo>
                    <a:pt x="2450" y="3731"/>
                  </a:lnTo>
                  <a:lnTo>
                    <a:pt x="2463" y="3743"/>
                  </a:lnTo>
                  <a:lnTo>
                    <a:pt x="2479" y="3751"/>
                  </a:lnTo>
                  <a:lnTo>
                    <a:pt x="2497" y="3754"/>
                  </a:lnTo>
                  <a:lnTo>
                    <a:pt x="2516" y="3751"/>
                  </a:lnTo>
                  <a:lnTo>
                    <a:pt x="2534" y="3744"/>
                  </a:lnTo>
                  <a:lnTo>
                    <a:pt x="2548" y="3732"/>
                  </a:lnTo>
                  <a:lnTo>
                    <a:pt x="2560" y="3716"/>
                  </a:lnTo>
                  <a:lnTo>
                    <a:pt x="2566" y="3696"/>
                  </a:lnTo>
                  <a:lnTo>
                    <a:pt x="2566" y="3677"/>
                  </a:lnTo>
                  <a:lnTo>
                    <a:pt x="2560" y="3658"/>
                  </a:lnTo>
                  <a:lnTo>
                    <a:pt x="2332" y="3155"/>
                  </a:lnTo>
                  <a:close/>
                  <a:moveTo>
                    <a:pt x="1597" y="0"/>
                  </a:moveTo>
                  <a:lnTo>
                    <a:pt x="1707" y="3"/>
                  </a:lnTo>
                  <a:lnTo>
                    <a:pt x="1814" y="14"/>
                  </a:lnTo>
                  <a:lnTo>
                    <a:pt x="1918" y="31"/>
                  </a:lnTo>
                  <a:lnTo>
                    <a:pt x="2022" y="54"/>
                  </a:lnTo>
                  <a:lnTo>
                    <a:pt x="2122" y="85"/>
                  </a:lnTo>
                  <a:lnTo>
                    <a:pt x="2220" y="120"/>
                  </a:lnTo>
                  <a:lnTo>
                    <a:pt x="2314" y="162"/>
                  </a:lnTo>
                  <a:lnTo>
                    <a:pt x="2406" y="210"/>
                  </a:lnTo>
                  <a:lnTo>
                    <a:pt x="2494" y="263"/>
                  </a:lnTo>
                  <a:lnTo>
                    <a:pt x="2578" y="320"/>
                  </a:lnTo>
                  <a:lnTo>
                    <a:pt x="2659" y="384"/>
                  </a:lnTo>
                  <a:lnTo>
                    <a:pt x="2736" y="452"/>
                  </a:lnTo>
                  <a:lnTo>
                    <a:pt x="2808" y="524"/>
                  </a:lnTo>
                  <a:lnTo>
                    <a:pt x="2876" y="601"/>
                  </a:lnTo>
                  <a:lnTo>
                    <a:pt x="2938" y="681"/>
                  </a:lnTo>
                  <a:lnTo>
                    <a:pt x="2997" y="766"/>
                  </a:lnTo>
                  <a:lnTo>
                    <a:pt x="3050" y="854"/>
                  </a:lnTo>
                  <a:lnTo>
                    <a:pt x="3097" y="946"/>
                  </a:lnTo>
                  <a:lnTo>
                    <a:pt x="3140" y="1040"/>
                  </a:lnTo>
                  <a:lnTo>
                    <a:pt x="3175" y="1138"/>
                  </a:lnTo>
                  <a:lnTo>
                    <a:pt x="3206" y="1238"/>
                  </a:lnTo>
                  <a:lnTo>
                    <a:pt x="3229" y="1342"/>
                  </a:lnTo>
                  <a:lnTo>
                    <a:pt x="3246" y="1447"/>
                  </a:lnTo>
                  <a:lnTo>
                    <a:pt x="3256" y="1554"/>
                  </a:lnTo>
                  <a:lnTo>
                    <a:pt x="3260" y="1663"/>
                  </a:lnTo>
                  <a:lnTo>
                    <a:pt x="3256" y="1770"/>
                  </a:lnTo>
                  <a:lnTo>
                    <a:pt x="3247" y="1874"/>
                  </a:lnTo>
                  <a:lnTo>
                    <a:pt x="3230" y="1977"/>
                  </a:lnTo>
                  <a:lnTo>
                    <a:pt x="3208" y="2078"/>
                  </a:lnTo>
                  <a:lnTo>
                    <a:pt x="3180" y="2176"/>
                  </a:lnTo>
                  <a:lnTo>
                    <a:pt x="3146" y="2271"/>
                  </a:lnTo>
                  <a:lnTo>
                    <a:pt x="3105" y="2365"/>
                  </a:lnTo>
                  <a:lnTo>
                    <a:pt x="3060" y="2454"/>
                  </a:lnTo>
                  <a:lnTo>
                    <a:pt x="3010" y="2540"/>
                  </a:lnTo>
                  <a:lnTo>
                    <a:pt x="2954" y="2624"/>
                  </a:lnTo>
                  <a:lnTo>
                    <a:pt x="2894" y="2704"/>
                  </a:lnTo>
                  <a:lnTo>
                    <a:pt x="2830" y="2779"/>
                  </a:lnTo>
                  <a:lnTo>
                    <a:pt x="2760" y="2851"/>
                  </a:lnTo>
                  <a:lnTo>
                    <a:pt x="2687" y="2918"/>
                  </a:lnTo>
                  <a:lnTo>
                    <a:pt x="2610" y="2982"/>
                  </a:lnTo>
                  <a:lnTo>
                    <a:pt x="2530" y="3041"/>
                  </a:lnTo>
                  <a:lnTo>
                    <a:pt x="2445" y="3094"/>
                  </a:lnTo>
                  <a:lnTo>
                    <a:pt x="2677" y="3605"/>
                  </a:lnTo>
                  <a:lnTo>
                    <a:pt x="2689" y="3637"/>
                  </a:lnTo>
                  <a:lnTo>
                    <a:pt x="2695" y="3671"/>
                  </a:lnTo>
                  <a:lnTo>
                    <a:pt x="2693" y="3705"/>
                  </a:lnTo>
                  <a:lnTo>
                    <a:pt x="2687" y="3738"/>
                  </a:lnTo>
                  <a:lnTo>
                    <a:pt x="2676" y="3771"/>
                  </a:lnTo>
                  <a:lnTo>
                    <a:pt x="2658" y="3801"/>
                  </a:lnTo>
                  <a:lnTo>
                    <a:pt x="2636" y="3827"/>
                  </a:lnTo>
                  <a:lnTo>
                    <a:pt x="2609" y="3848"/>
                  </a:lnTo>
                  <a:lnTo>
                    <a:pt x="2579" y="3864"/>
                  </a:lnTo>
                  <a:lnTo>
                    <a:pt x="2546" y="3876"/>
                  </a:lnTo>
                  <a:lnTo>
                    <a:pt x="2523" y="3881"/>
                  </a:lnTo>
                  <a:lnTo>
                    <a:pt x="2498" y="3882"/>
                  </a:lnTo>
                  <a:lnTo>
                    <a:pt x="2467" y="3880"/>
                  </a:lnTo>
                  <a:lnTo>
                    <a:pt x="2438" y="3873"/>
                  </a:lnTo>
                  <a:lnTo>
                    <a:pt x="2410" y="3861"/>
                  </a:lnTo>
                  <a:lnTo>
                    <a:pt x="2384" y="3844"/>
                  </a:lnTo>
                  <a:lnTo>
                    <a:pt x="2360" y="3824"/>
                  </a:lnTo>
                  <a:lnTo>
                    <a:pt x="2340" y="3801"/>
                  </a:lnTo>
                  <a:lnTo>
                    <a:pt x="2324" y="3774"/>
                  </a:lnTo>
                  <a:lnTo>
                    <a:pt x="2067" y="3259"/>
                  </a:lnTo>
                  <a:lnTo>
                    <a:pt x="1976" y="3283"/>
                  </a:lnTo>
                  <a:lnTo>
                    <a:pt x="1884" y="3302"/>
                  </a:lnTo>
                  <a:lnTo>
                    <a:pt x="1790" y="3316"/>
                  </a:lnTo>
                  <a:lnTo>
                    <a:pt x="1694" y="3325"/>
                  </a:lnTo>
                  <a:lnTo>
                    <a:pt x="1597" y="3327"/>
                  </a:lnTo>
                  <a:lnTo>
                    <a:pt x="1503" y="3325"/>
                  </a:lnTo>
                  <a:lnTo>
                    <a:pt x="1409" y="3316"/>
                  </a:lnTo>
                  <a:lnTo>
                    <a:pt x="1317" y="3302"/>
                  </a:lnTo>
                  <a:lnTo>
                    <a:pt x="1226" y="3283"/>
                  </a:lnTo>
                  <a:lnTo>
                    <a:pt x="1137" y="3260"/>
                  </a:lnTo>
                  <a:lnTo>
                    <a:pt x="880" y="3774"/>
                  </a:lnTo>
                  <a:lnTo>
                    <a:pt x="863" y="3801"/>
                  </a:lnTo>
                  <a:lnTo>
                    <a:pt x="843" y="3824"/>
                  </a:lnTo>
                  <a:lnTo>
                    <a:pt x="820" y="3844"/>
                  </a:lnTo>
                  <a:lnTo>
                    <a:pt x="794" y="3861"/>
                  </a:lnTo>
                  <a:lnTo>
                    <a:pt x="766" y="3873"/>
                  </a:lnTo>
                  <a:lnTo>
                    <a:pt x="736" y="3880"/>
                  </a:lnTo>
                  <a:lnTo>
                    <a:pt x="706" y="3882"/>
                  </a:lnTo>
                  <a:lnTo>
                    <a:pt x="682" y="3881"/>
                  </a:lnTo>
                  <a:lnTo>
                    <a:pt x="657" y="3876"/>
                  </a:lnTo>
                  <a:lnTo>
                    <a:pt x="625" y="3864"/>
                  </a:lnTo>
                  <a:lnTo>
                    <a:pt x="595" y="3848"/>
                  </a:lnTo>
                  <a:lnTo>
                    <a:pt x="569" y="3827"/>
                  </a:lnTo>
                  <a:lnTo>
                    <a:pt x="547" y="3801"/>
                  </a:lnTo>
                  <a:lnTo>
                    <a:pt x="529" y="3771"/>
                  </a:lnTo>
                  <a:lnTo>
                    <a:pt x="517" y="3738"/>
                  </a:lnTo>
                  <a:lnTo>
                    <a:pt x="510" y="3705"/>
                  </a:lnTo>
                  <a:lnTo>
                    <a:pt x="510" y="3671"/>
                  </a:lnTo>
                  <a:lnTo>
                    <a:pt x="516" y="3638"/>
                  </a:lnTo>
                  <a:lnTo>
                    <a:pt x="527" y="3605"/>
                  </a:lnTo>
                  <a:lnTo>
                    <a:pt x="757" y="3096"/>
                  </a:lnTo>
                  <a:lnTo>
                    <a:pt x="677" y="3045"/>
                  </a:lnTo>
                  <a:lnTo>
                    <a:pt x="598" y="2990"/>
                  </a:lnTo>
                  <a:lnTo>
                    <a:pt x="524" y="2931"/>
                  </a:lnTo>
                  <a:lnTo>
                    <a:pt x="452" y="2866"/>
                  </a:lnTo>
                  <a:lnTo>
                    <a:pt x="384" y="2799"/>
                  </a:lnTo>
                  <a:lnTo>
                    <a:pt x="320" y="2727"/>
                  </a:lnTo>
                  <a:lnTo>
                    <a:pt x="260" y="2652"/>
                  </a:lnTo>
                  <a:lnTo>
                    <a:pt x="205" y="2573"/>
                  </a:lnTo>
                  <a:lnTo>
                    <a:pt x="154" y="2491"/>
                  </a:lnTo>
                  <a:lnTo>
                    <a:pt x="109" y="2405"/>
                  </a:lnTo>
                  <a:lnTo>
                    <a:pt x="67" y="2316"/>
                  </a:lnTo>
                  <a:lnTo>
                    <a:pt x="31" y="2224"/>
                  </a:lnTo>
                  <a:lnTo>
                    <a:pt x="0" y="2129"/>
                  </a:lnTo>
                  <a:lnTo>
                    <a:pt x="123" y="2094"/>
                  </a:lnTo>
                  <a:lnTo>
                    <a:pt x="154" y="2190"/>
                  </a:lnTo>
                  <a:lnTo>
                    <a:pt x="192" y="2283"/>
                  </a:lnTo>
                  <a:lnTo>
                    <a:pt x="236" y="2373"/>
                  </a:lnTo>
                  <a:lnTo>
                    <a:pt x="284" y="2459"/>
                  </a:lnTo>
                  <a:lnTo>
                    <a:pt x="338" y="2541"/>
                  </a:lnTo>
                  <a:lnTo>
                    <a:pt x="397" y="2620"/>
                  </a:lnTo>
                  <a:lnTo>
                    <a:pt x="461" y="2694"/>
                  </a:lnTo>
                  <a:lnTo>
                    <a:pt x="529" y="2764"/>
                  </a:lnTo>
                  <a:lnTo>
                    <a:pt x="601" y="2830"/>
                  </a:lnTo>
                  <a:lnTo>
                    <a:pt x="676" y="2891"/>
                  </a:lnTo>
                  <a:lnTo>
                    <a:pt x="756" y="2947"/>
                  </a:lnTo>
                  <a:lnTo>
                    <a:pt x="840" y="2997"/>
                  </a:lnTo>
                  <a:lnTo>
                    <a:pt x="926" y="3043"/>
                  </a:lnTo>
                  <a:lnTo>
                    <a:pt x="1015" y="3083"/>
                  </a:lnTo>
                  <a:lnTo>
                    <a:pt x="1107" y="3119"/>
                  </a:lnTo>
                  <a:lnTo>
                    <a:pt x="1201" y="3147"/>
                  </a:lnTo>
                  <a:lnTo>
                    <a:pt x="1298" y="3169"/>
                  </a:lnTo>
                  <a:lnTo>
                    <a:pt x="1396" y="3186"/>
                  </a:lnTo>
                  <a:lnTo>
                    <a:pt x="1496" y="3196"/>
                  </a:lnTo>
                  <a:lnTo>
                    <a:pt x="1597" y="3200"/>
                  </a:lnTo>
                  <a:lnTo>
                    <a:pt x="1702" y="3196"/>
                  </a:lnTo>
                  <a:lnTo>
                    <a:pt x="1805" y="3186"/>
                  </a:lnTo>
                  <a:lnTo>
                    <a:pt x="1906" y="3168"/>
                  </a:lnTo>
                  <a:lnTo>
                    <a:pt x="2004" y="3144"/>
                  </a:lnTo>
                  <a:lnTo>
                    <a:pt x="2101" y="3115"/>
                  </a:lnTo>
                  <a:lnTo>
                    <a:pt x="2194" y="3078"/>
                  </a:lnTo>
                  <a:lnTo>
                    <a:pt x="2285" y="3037"/>
                  </a:lnTo>
                  <a:lnTo>
                    <a:pt x="2371" y="2989"/>
                  </a:lnTo>
                  <a:lnTo>
                    <a:pt x="2454" y="2937"/>
                  </a:lnTo>
                  <a:lnTo>
                    <a:pt x="2534" y="2879"/>
                  </a:lnTo>
                  <a:lnTo>
                    <a:pt x="2610" y="2816"/>
                  </a:lnTo>
                  <a:lnTo>
                    <a:pt x="2682" y="2749"/>
                  </a:lnTo>
                  <a:lnTo>
                    <a:pt x="2749" y="2678"/>
                  </a:lnTo>
                  <a:lnTo>
                    <a:pt x="2812" y="2601"/>
                  </a:lnTo>
                  <a:lnTo>
                    <a:pt x="2870" y="2521"/>
                  </a:lnTo>
                  <a:lnTo>
                    <a:pt x="2922" y="2438"/>
                  </a:lnTo>
                  <a:lnTo>
                    <a:pt x="2970" y="2352"/>
                  </a:lnTo>
                  <a:lnTo>
                    <a:pt x="3011" y="2261"/>
                  </a:lnTo>
                  <a:lnTo>
                    <a:pt x="3048" y="2168"/>
                  </a:lnTo>
                  <a:lnTo>
                    <a:pt x="3077" y="2071"/>
                  </a:lnTo>
                  <a:lnTo>
                    <a:pt x="3101" y="1972"/>
                  </a:lnTo>
                  <a:lnTo>
                    <a:pt x="3118" y="1872"/>
                  </a:lnTo>
                  <a:lnTo>
                    <a:pt x="3129" y="1768"/>
                  </a:lnTo>
                  <a:lnTo>
                    <a:pt x="3133" y="1663"/>
                  </a:lnTo>
                  <a:lnTo>
                    <a:pt x="3129" y="1559"/>
                  </a:lnTo>
                  <a:lnTo>
                    <a:pt x="3118" y="1455"/>
                  </a:lnTo>
                  <a:lnTo>
                    <a:pt x="3101" y="1355"/>
                  </a:lnTo>
                  <a:lnTo>
                    <a:pt x="3077" y="1256"/>
                  </a:lnTo>
                  <a:lnTo>
                    <a:pt x="3048" y="1159"/>
                  </a:lnTo>
                  <a:lnTo>
                    <a:pt x="3011" y="1066"/>
                  </a:lnTo>
                  <a:lnTo>
                    <a:pt x="2970" y="975"/>
                  </a:lnTo>
                  <a:lnTo>
                    <a:pt x="2922" y="888"/>
                  </a:lnTo>
                  <a:lnTo>
                    <a:pt x="2870" y="806"/>
                  </a:lnTo>
                  <a:lnTo>
                    <a:pt x="2812" y="726"/>
                  </a:lnTo>
                  <a:lnTo>
                    <a:pt x="2749" y="649"/>
                  </a:lnTo>
                  <a:lnTo>
                    <a:pt x="2682" y="578"/>
                  </a:lnTo>
                  <a:lnTo>
                    <a:pt x="2610" y="510"/>
                  </a:lnTo>
                  <a:lnTo>
                    <a:pt x="2534" y="448"/>
                  </a:lnTo>
                  <a:lnTo>
                    <a:pt x="2454" y="390"/>
                  </a:lnTo>
                  <a:lnTo>
                    <a:pt x="2371" y="338"/>
                  </a:lnTo>
                  <a:lnTo>
                    <a:pt x="2285" y="290"/>
                  </a:lnTo>
                  <a:lnTo>
                    <a:pt x="2194" y="248"/>
                  </a:lnTo>
                  <a:lnTo>
                    <a:pt x="2101" y="212"/>
                  </a:lnTo>
                  <a:lnTo>
                    <a:pt x="2004" y="183"/>
                  </a:lnTo>
                  <a:lnTo>
                    <a:pt x="1906" y="159"/>
                  </a:lnTo>
                  <a:lnTo>
                    <a:pt x="1805" y="141"/>
                  </a:lnTo>
                  <a:lnTo>
                    <a:pt x="1702" y="131"/>
                  </a:lnTo>
                  <a:lnTo>
                    <a:pt x="1597" y="127"/>
                  </a:lnTo>
                  <a:lnTo>
                    <a:pt x="1496" y="131"/>
                  </a:lnTo>
                  <a:lnTo>
                    <a:pt x="1396" y="141"/>
                  </a:lnTo>
                  <a:lnTo>
                    <a:pt x="1298" y="158"/>
                  </a:lnTo>
                  <a:lnTo>
                    <a:pt x="1201" y="180"/>
                  </a:lnTo>
                  <a:lnTo>
                    <a:pt x="1107" y="208"/>
                  </a:lnTo>
                  <a:lnTo>
                    <a:pt x="1015" y="244"/>
                  </a:lnTo>
                  <a:lnTo>
                    <a:pt x="926" y="284"/>
                  </a:lnTo>
                  <a:lnTo>
                    <a:pt x="840" y="329"/>
                  </a:lnTo>
                  <a:lnTo>
                    <a:pt x="756" y="380"/>
                  </a:lnTo>
                  <a:lnTo>
                    <a:pt x="677" y="436"/>
                  </a:lnTo>
                  <a:lnTo>
                    <a:pt x="601" y="497"/>
                  </a:lnTo>
                  <a:lnTo>
                    <a:pt x="529" y="563"/>
                  </a:lnTo>
                  <a:lnTo>
                    <a:pt x="461" y="633"/>
                  </a:lnTo>
                  <a:lnTo>
                    <a:pt x="397" y="707"/>
                  </a:lnTo>
                  <a:lnTo>
                    <a:pt x="338" y="786"/>
                  </a:lnTo>
                  <a:lnTo>
                    <a:pt x="284" y="868"/>
                  </a:lnTo>
                  <a:lnTo>
                    <a:pt x="236" y="954"/>
                  </a:lnTo>
                  <a:lnTo>
                    <a:pt x="192" y="1044"/>
                  </a:lnTo>
                  <a:lnTo>
                    <a:pt x="154" y="1137"/>
                  </a:lnTo>
                  <a:lnTo>
                    <a:pt x="123" y="1233"/>
                  </a:lnTo>
                  <a:lnTo>
                    <a:pt x="0" y="1198"/>
                  </a:lnTo>
                  <a:lnTo>
                    <a:pt x="33" y="1098"/>
                  </a:lnTo>
                  <a:lnTo>
                    <a:pt x="71" y="1003"/>
                  </a:lnTo>
                  <a:lnTo>
                    <a:pt x="114" y="909"/>
                  </a:lnTo>
                  <a:lnTo>
                    <a:pt x="164" y="820"/>
                  </a:lnTo>
                  <a:lnTo>
                    <a:pt x="219" y="734"/>
                  </a:lnTo>
                  <a:lnTo>
                    <a:pt x="278" y="651"/>
                  </a:lnTo>
                  <a:lnTo>
                    <a:pt x="342" y="574"/>
                  </a:lnTo>
                  <a:lnTo>
                    <a:pt x="411" y="499"/>
                  </a:lnTo>
                  <a:lnTo>
                    <a:pt x="483" y="430"/>
                  </a:lnTo>
                  <a:lnTo>
                    <a:pt x="561" y="365"/>
                  </a:lnTo>
                  <a:lnTo>
                    <a:pt x="641" y="304"/>
                  </a:lnTo>
                  <a:lnTo>
                    <a:pt x="724" y="248"/>
                  </a:lnTo>
                  <a:lnTo>
                    <a:pt x="812" y="199"/>
                  </a:lnTo>
                  <a:lnTo>
                    <a:pt x="902" y="153"/>
                  </a:lnTo>
                  <a:lnTo>
                    <a:pt x="995" y="113"/>
                  </a:lnTo>
                  <a:lnTo>
                    <a:pt x="1091" y="80"/>
                  </a:lnTo>
                  <a:lnTo>
                    <a:pt x="1188" y="51"/>
                  </a:lnTo>
                  <a:lnTo>
                    <a:pt x="1287" y="29"/>
                  </a:lnTo>
                  <a:lnTo>
                    <a:pt x="1390" y="13"/>
                  </a:lnTo>
                  <a:lnTo>
                    <a:pt x="1492" y="2"/>
                  </a:lnTo>
                  <a:lnTo>
                    <a:pt x="15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/>
            </a:p>
          </p:txBody>
        </p:sp>
        <p:sp>
          <p:nvSpPr>
            <p:cNvPr id="239" name="Rectangle 331">
              <a:extLst>
                <a:ext uri="{FF2B5EF4-FFF2-40B4-BE49-F238E27FC236}">
                  <a16:creationId xmlns:a16="http://schemas.microsoft.com/office/drawing/2014/main" id="{5CA7C547-9577-EFFA-9EDB-659719DF51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3448" y="5107612"/>
              <a:ext cx="115319" cy="11622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/>
            </a:p>
          </p:txBody>
        </p:sp>
        <p:sp>
          <p:nvSpPr>
            <p:cNvPr id="240" name="Rectangle 332">
              <a:extLst>
                <a:ext uri="{FF2B5EF4-FFF2-40B4-BE49-F238E27FC236}">
                  <a16:creationId xmlns:a16="http://schemas.microsoft.com/office/drawing/2014/main" id="{4B4F3A54-CB14-B5AF-9DF9-147ED73005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32809" y="5107612"/>
              <a:ext cx="115319" cy="11622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/>
            </a:p>
          </p:txBody>
        </p:sp>
        <p:sp>
          <p:nvSpPr>
            <p:cNvPr id="241" name="Rectangle 333">
              <a:extLst>
                <a:ext uri="{FF2B5EF4-FFF2-40B4-BE49-F238E27FC236}">
                  <a16:creationId xmlns:a16="http://schemas.microsoft.com/office/drawing/2014/main" id="{E27FF595-3BBE-F514-4A90-42F54DC992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02170" y="5107612"/>
              <a:ext cx="115319" cy="11622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r"/>
              <a:endParaRPr lang="en-US"/>
            </a:p>
          </p:txBody>
        </p:sp>
      </p:grpSp>
      <p:cxnSp>
        <p:nvCxnSpPr>
          <p:cNvPr id="249" name="Verbinder: gekrümmt 248">
            <a:extLst>
              <a:ext uri="{FF2B5EF4-FFF2-40B4-BE49-F238E27FC236}">
                <a16:creationId xmlns:a16="http://schemas.microsoft.com/office/drawing/2014/main" id="{DFABAF15-E101-58CA-9086-74FBA9985CCF}"/>
              </a:ext>
            </a:extLst>
          </p:cNvPr>
          <p:cNvCxnSpPr>
            <a:cxnSpLocks/>
            <a:stCxn id="104" idx="5"/>
          </p:cNvCxnSpPr>
          <p:nvPr/>
        </p:nvCxnSpPr>
        <p:spPr>
          <a:xfrm rot="16200000" flipH="1">
            <a:off x="2203181" y="3876377"/>
            <a:ext cx="193680" cy="797908"/>
          </a:xfrm>
          <a:prstGeom prst="curvedConnector2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Verbinder: gekrümmt 254">
            <a:extLst>
              <a:ext uri="{FF2B5EF4-FFF2-40B4-BE49-F238E27FC236}">
                <a16:creationId xmlns:a16="http://schemas.microsoft.com/office/drawing/2014/main" id="{EDCDBD89-DBBF-09F7-1083-E79FA9A25DD7}"/>
              </a:ext>
            </a:extLst>
          </p:cNvPr>
          <p:cNvCxnSpPr>
            <a:cxnSpLocks/>
            <a:stCxn id="104" idx="7"/>
          </p:cNvCxnSpPr>
          <p:nvPr/>
        </p:nvCxnSpPr>
        <p:spPr>
          <a:xfrm rot="5400000" flipH="1" flipV="1">
            <a:off x="2198147" y="2883696"/>
            <a:ext cx="203750" cy="797910"/>
          </a:xfrm>
          <a:prstGeom prst="curvedConnector2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44852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„Smarte“ Zusammenarbei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2D001F-4B71-8322-F091-D1E19B17A8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Ausblick</a:t>
            </a:r>
          </a:p>
        </p:txBody>
      </p: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480BC3E1-4164-CCBE-A4D9-7D53CDE80297}"/>
              </a:ext>
            </a:extLst>
          </p:cNvPr>
          <p:cNvGrpSpPr/>
          <p:nvPr/>
        </p:nvGrpSpPr>
        <p:grpSpPr>
          <a:xfrm>
            <a:off x="1478787" y="2109788"/>
            <a:ext cx="8852742" cy="3257550"/>
            <a:chOff x="1384300" y="2051050"/>
            <a:chExt cx="8852742" cy="3257550"/>
          </a:xfrm>
        </p:grpSpPr>
        <p:sp>
          <p:nvSpPr>
            <p:cNvPr id="3" name="Teardrop 7">
              <a:extLst>
                <a:ext uri="{FF2B5EF4-FFF2-40B4-BE49-F238E27FC236}">
                  <a16:creationId xmlns:a16="http://schemas.microsoft.com/office/drawing/2014/main" id="{D644A9C4-A4A8-4DFC-5FDA-C95E932B3D1B}"/>
                </a:ext>
              </a:extLst>
            </p:cNvPr>
            <p:cNvSpPr/>
            <p:nvPr/>
          </p:nvSpPr>
          <p:spPr>
            <a:xfrm rot="8100000">
              <a:off x="2493962" y="2371202"/>
              <a:ext cx="958016" cy="958016"/>
            </a:xfrm>
            <a:prstGeom prst="teardrop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" name="Teardrop 11">
              <a:extLst>
                <a:ext uri="{FF2B5EF4-FFF2-40B4-BE49-F238E27FC236}">
                  <a16:creationId xmlns:a16="http://schemas.microsoft.com/office/drawing/2014/main" id="{1965F25C-F21F-9776-12D9-854B7A3A8D77}"/>
                </a:ext>
              </a:extLst>
            </p:cNvPr>
            <p:cNvSpPr/>
            <p:nvPr/>
          </p:nvSpPr>
          <p:spPr>
            <a:xfrm rot="8100000">
              <a:off x="4564480" y="2371202"/>
              <a:ext cx="958016" cy="958016"/>
            </a:xfrm>
            <a:prstGeom prst="teardrop">
              <a:avLst/>
            </a:prstGeom>
            <a:solidFill>
              <a:srgbClr val="28517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b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" name="Notched Right Arrow 5">
              <a:extLst>
                <a:ext uri="{FF2B5EF4-FFF2-40B4-BE49-F238E27FC236}">
                  <a16:creationId xmlns:a16="http://schemas.microsoft.com/office/drawing/2014/main" id="{BCF6CF44-918B-3C6A-276B-2B05C70D2773}"/>
                </a:ext>
              </a:extLst>
            </p:cNvPr>
            <p:cNvSpPr/>
            <p:nvPr/>
          </p:nvSpPr>
          <p:spPr bwMode="auto">
            <a:xfrm>
              <a:off x="1920457" y="3621907"/>
              <a:ext cx="2105028" cy="392431"/>
            </a:xfrm>
            <a:prstGeom prst="notchedRightArrow">
              <a:avLst>
                <a:gd name="adj1" fmla="val 100000"/>
                <a:gd name="adj2" fmla="val 51429"/>
              </a:avLst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>
                  <a:solidFill>
                    <a:schemeClr val="bg1"/>
                  </a:solidFill>
                </a:rPr>
                <a:t>2020</a:t>
              </a:r>
            </a:p>
          </p:txBody>
        </p:sp>
        <p:sp>
          <p:nvSpPr>
            <p:cNvPr id="7" name="Oval 8">
              <a:extLst>
                <a:ext uri="{FF2B5EF4-FFF2-40B4-BE49-F238E27FC236}">
                  <a16:creationId xmlns:a16="http://schemas.microsoft.com/office/drawing/2014/main" id="{4DEAD08B-7A30-4F96-ED33-530E1F66C6BC}"/>
                </a:ext>
              </a:extLst>
            </p:cNvPr>
            <p:cNvSpPr/>
            <p:nvPr/>
          </p:nvSpPr>
          <p:spPr>
            <a:xfrm>
              <a:off x="2640783" y="2504997"/>
              <a:ext cx="664373" cy="66437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800" b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" name="Notched Right Arrow 9">
              <a:extLst>
                <a:ext uri="{FF2B5EF4-FFF2-40B4-BE49-F238E27FC236}">
                  <a16:creationId xmlns:a16="http://schemas.microsoft.com/office/drawing/2014/main" id="{1F0E52F3-1155-6D26-A425-1FA7AC869FD0}"/>
                </a:ext>
              </a:extLst>
            </p:cNvPr>
            <p:cNvSpPr/>
            <p:nvPr/>
          </p:nvSpPr>
          <p:spPr bwMode="auto">
            <a:xfrm>
              <a:off x="3990976" y="3621907"/>
              <a:ext cx="2105028" cy="392431"/>
            </a:xfrm>
            <a:prstGeom prst="notchedRightArrow">
              <a:avLst>
                <a:gd name="adj1" fmla="val 100000"/>
                <a:gd name="adj2" fmla="val 51429"/>
              </a:avLst>
            </a:prstGeom>
            <a:solidFill>
              <a:srgbClr val="28517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>
                  <a:solidFill>
                    <a:schemeClr val="bg1"/>
                  </a:solidFill>
                </a:rPr>
                <a:t>2021</a:t>
              </a:r>
            </a:p>
          </p:txBody>
        </p:sp>
        <p:sp>
          <p:nvSpPr>
            <p:cNvPr id="9" name="Oval 12">
              <a:extLst>
                <a:ext uri="{FF2B5EF4-FFF2-40B4-BE49-F238E27FC236}">
                  <a16:creationId xmlns:a16="http://schemas.microsoft.com/office/drawing/2014/main" id="{7C66C1FD-EED6-EF01-A136-5699EA46C242}"/>
                </a:ext>
              </a:extLst>
            </p:cNvPr>
            <p:cNvSpPr/>
            <p:nvPr/>
          </p:nvSpPr>
          <p:spPr>
            <a:xfrm>
              <a:off x="4711301" y="2504997"/>
              <a:ext cx="664373" cy="66437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800" b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0" name="Notched Right Arrow 13">
              <a:extLst>
                <a:ext uri="{FF2B5EF4-FFF2-40B4-BE49-F238E27FC236}">
                  <a16:creationId xmlns:a16="http://schemas.microsoft.com/office/drawing/2014/main" id="{2DD651A5-ECDA-69FC-2C0D-55B6D661D6C3}"/>
                </a:ext>
              </a:extLst>
            </p:cNvPr>
            <p:cNvSpPr/>
            <p:nvPr/>
          </p:nvSpPr>
          <p:spPr bwMode="auto">
            <a:xfrm>
              <a:off x="6061494" y="3621907"/>
              <a:ext cx="2105028" cy="392431"/>
            </a:xfrm>
            <a:prstGeom prst="notchedRightArrow">
              <a:avLst>
                <a:gd name="adj1" fmla="val 100000"/>
                <a:gd name="adj2" fmla="val 51429"/>
              </a:avLst>
            </a:prstGeom>
            <a:solidFill>
              <a:srgbClr val="57575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>
                  <a:solidFill>
                    <a:schemeClr val="bg1"/>
                  </a:solidFill>
                </a:rPr>
                <a:t>2023</a:t>
              </a:r>
            </a:p>
          </p:txBody>
        </p:sp>
        <p:grpSp>
          <p:nvGrpSpPr>
            <p:cNvPr id="11" name="Group 279">
              <a:extLst>
                <a:ext uri="{FF2B5EF4-FFF2-40B4-BE49-F238E27FC236}">
                  <a16:creationId xmlns:a16="http://schemas.microsoft.com/office/drawing/2014/main" id="{68D9FE1C-29FA-584E-15D2-AD39693A05C6}"/>
                </a:ext>
              </a:extLst>
            </p:cNvPr>
            <p:cNvGrpSpPr/>
            <p:nvPr/>
          </p:nvGrpSpPr>
          <p:grpSpPr>
            <a:xfrm>
              <a:off x="6634999" y="2355962"/>
              <a:ext cx="958016" cy="958016"/>
              <a:chOff x="846989" y="1401020"/>
              <a:chExt cx="877416" cy="877416"/>
            </a:xfrm>
            <a:effectLst/>
          </p:grpSpPr>
          <p:sp>
            <p:nvSpPr>
              <p:cNvPr id="12" name="Teardrop 15">
                <a:extLst>
                  <a:ext uri="{FF2B5EF4-FFF2-40B4-BE49-F238E27FC236}">
                    <a16:creationId xmlns:a16="http://schemas.microsoft.com/office/drawing/2014/main" id="{6E2FEDF2-A9DC-2CDD-A100-70A537BF2F94}"/>
                  </a:ext>
                </a:extLst>
              </p:cNvPr>
              <p:cNvSpPr/>
              <p:nvPr/>
            </p:nvSpPr>
            <p:spPr>
              <a:xfrm rot="8100000">
                <a:off x="846989" y="1401020"/>
                <a:ext cx="877416" cy="877416"/>
              </a:xfrm>
              <a:prstGeom prst="teardrop">
                <a:avLst/>
              </a:prstGeom>
              <a:solidFill>
                <a:srgbClr val="575757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3" name="Oval 16">
                <a:extLst>
                  <a:ext uri="{FF2B5EF4-FFF2-40B4-BE49-F238E27FC236}">
                    <a16:creationId xmlns:a16="http://schemas.microsoft.com/office/drawing/2014/main" id="{E09F192A-7CEC-A634-59BA-2B50CC436330}"/>
                  </a:ext>
                </a:extLst>
              </p:cNvPr>
              <p:cNvSpPr/>
              <p:nvPr/>
            </p:nvSpPr>
            <p:spPr>
              <a:xfrm>
                <a:off x="981458" y="1537516"/>
                <a:ext cx="608478" cy="6084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8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sp>
          <p:nvSpPr>
            <p:cNvPr id="14" name="Notched Right Arrow 17">
              <a:extLst>
                <a:ext uri="{FF2B5EF4-FFF2-40B4-BE49-F238E27FC236}">
                  <a16:creationId xmlns:a16="http://schemas.microsoft.com/office/drawing/2014/main" id="{B46BA6B3-2CF5-D521-B0D4-D6580A493501}"/>
                </a:ext>
              </a:extLst>
            </p:cNvPr>
            <p:cNvSpPr/>
            <p:nvPr/>
          </p:nvSpPr>
          <p:spPr bwMode="auto">
            <a:xfrm>
              <a:off x="8132014" y="3621907"/>
              <a:ext cx="2105028" cy="392431"/>
            </a:xfrm>
            <a:prstGeom prst="notchedRightArrow">
              <a:avLst>
                <a:gd name="adj1" fmla="val 100000"/>
                <a:gd name="adj2" fmla="val 51429"/>
              </a:avLst>
            </a:prstGeom>
            <a:solidFill>
              <a:srgbClr val="28517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600">
                  <a:solidFill>
                    <a:schemeClr val="bg1"/>
                  </a:solidFill>
                </a:rPr>
                <a:t>2027</a:t>
              </a:r>
            </a:p>
          </p:txBody>
        </p:sp>
        <p:grpSp>
          <p:nvGrpSpPr>
            <p:cNvPr id="15" name="Group 279">
              <a:extLst>
                <a:ext uri="{FF2B5EF4-FFF2-40B4-BE49-F238E27FC236}">
                  <a16:creationId xmlns:a16="http://schemas.microsoft.com/office/drawing/2014/main" id="{FC03ED63-9D55-D617-83A9-EEC955717C0B}"/>
                </a:ext>
              </a:extLst>
            </p:cNvPr>
            <p:cNvGrpSpPr/>
            <p:nvPr/>
          </p:nvGrpSpPr>
          <p:grpSpPr>
            <a:xfrm>
              <a:off x="8705519" y="2355962"/>
              <a:ext cx="958016" cy="958016"/>
              <a:chOff x="846989" y="1401020"/>
              <a:chExt cx="877416" cy="877416"/>
            </a:xfrm>
            <a:effectLst/>
          </p:grpSpPr>
          <p:sp>
            <p:nvSpPr>
              <p:cNvPr id="16" name="Teardrop 19">
                <a:extLst>
                  <a:ext uri="{FF2B5EF4-FFF2-40B4-BE49-F238E27FC236}">
                    <a16:creationId xmlns:a16="http://schemas.microsoft.com/office/drawing/2014/main" id="{D6A49192-53D5-8E7B-DD03-24B1C70FA16D}"/>
                  </a:ext>
                </a:extLst>
              </p:cNvPr>
              <p:cNvSpPr/>
              <p:nvPr/>
            </p:nvSpPr>
            <p:spPr>
              <a:xfrm rot="8100000">
                <a:off x="846989" y="1401020"/>
                <a:ext cx="877416" cy="877416"/>
              </a:xfrm>
              <a:prstGeom prst="teardrop">
                <a:avLst/>
              </a:prstGeom>
              <a:solidFill>
                <a:srgbClr val="28517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7" name="Oval 20">
                <a:extLst>
                  <a:ext uri="{FF2B5EF4-FFF2-40B4-BE49-F238E27FC236}">
                    <a16:creationId xmlns:a16="http://schemas.microsoft.com/office/drawing/2014/main" id="{7CF4DEAF-F6C0-2BD5-64DF-678618E731D8}"/>
                  </a:ext>
                </a:extLst>
              </p:cNvPr>
              <p:cNvSpPr/>
              <p:nvPr/>
            </p:nvSpPr>
            <p:spPr>
              <a:xfrm>
                <a:off x="981458" y="1537516"/>
                <a:ext cx="608478" cy="6084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8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  <p:sp>
          <p:nvSpPr>
            <p:cNvPr id="18" name="Rectangle 22">
              <a:extLst>
                <a:ext uri="{FF2B5EF4-FFF2-40B4-BE49-F238E27FC236}">
                  <a16:creationId xmlns:a16="http://schemas.microsoft.com/office/drawing/2014/main" id="{66EA204D-8C43-5AAD-1779-4C71082F3C0C}"/>
                </a:ext>
              </a:extLst>
            </p:cNvPr>
            <p:cNvSpPr/>
            <p:nvPr/>
          </p:nvSpPr>
          <p:spPr>
            <a:xfrm>
              <a:off x="1792698" y="4129175"/>
              <a:ext cx="2352675" cy="8588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200" b="1">
                  <a:solidFill>
                    <a:schemeClr val="accent1"/>
                  </a:solidFill>
                  <a:latin typeface="+mj-lt"/>
                </a:rPr>
                <a:t>Start </a:t>
              </a:r>
              <a:r>
                <a:rPr lang="en-US" sz="1200" b="1" err="1">
                  <a:solidFill>
                    <a:schemeClr val="accent1"/>
                  </a:solidFill>
                  <a:latin typeface="+mj-lt"/>
                </a:rPr>
                <a:t>Projekt</a:t>
              </a:r>
              <a:r>
                <a:rPr lang="en-US" sz="1200" b="1">
                  <a:solidFill>
                    <a:schemeClr val="accent1"/>
                  </a:solidFill>
                  <a:latin typeface="+mj-lt"/>
                </a:rPr>
                <a:t> </a:t>
              </a:r>
            </a:p>
            <a:p>
              <a:pPr algn="ctr">
                <a:lnSpc>
                  <a:spcPct val="150000"/>
                </a:lnSpc>
              </a:pPr>
              <a:r>
                <a:rPr lang="en-US" sz="1200" b="1">
                  <a:solidFill>
                    <a:schemeClr val="accent1"/>
                  </a:solidFill>
                  <a:latin typeface="+mj-lt"/>
                </a:rPr>
                <a:t>“</a:t>
              </a:r>
              <a:r>
                <a:rPr lang="en-US" sz="1200" b="1" err="1">
                  <a:solidFill>
                    <a:schemeClr val="accent1"/>
                  </a:solidFill>
                  <a:latin typeface="+mj-lt"/>
                </a:rPr>
                <a:t>Smarte</a:t>
              </a:r>
              <a:r>
                <a:rPr lang="en-US" sz="1200" b="1">
                  <a:solidFill>
                    <a:schemeClr val="accent1"/>
                  </a:solidFill>
                  <a:latin typeface="+mj-lt"/>
                </a:rPr>
                <a:t> Zusammenarbeit”</a:t>
              </a:r>
            </a:p>
            <a:p>
              <a:pPr algn="ctr">
                <a:lnSpc>
                  <a:spcPct val="150000"/>
                </a:lnSpc>
              </a:pPr>
              <a:r>
                <a:rPr lang="en-US" sz="1051" err="1">
                  <a:solidFill>
                    <a:srgbClr val="575757"/>
                  </a:solidFill>
                  <a:latin typeface="+mj-lt"/>
                </a:rPr>
                <a:t>Konzeption</a:t>
              </a:r>
              <a:r>
                <a:rPr lang="en-US" sz="1051">
                  <a:solidFill>
                    <a:srgbClr val="575757"/>
                  </a:solidFill>
                  <a:latin typeface="+mj-lt"/>
                </a:rPr>
                <a:t> und Idee</a:t>
              </a:r>
            </a:p>
          </p:txBody>
        </p:sp>
        <p:sp>
          <p:nvSpPr>
            <p:cNvPr id="19" name="Rectangle 23">
              <a:extLst>
                <a:ext uri="{FF2B5EF4-FFF2-40B4-BE49-F238E27FC236}">
                  <a16:creationId xmlns:a16="http://schemas.microsoft.com/office/drawing/2014/main" id="{7D972DC9-7390-D3EE-916D-B2F48CDB1A9F}"/>
                </a:ext>
              </a:extLst>
            </p:cNvPr>
            <p:cNvSpPr/>
            <p:nvPr/>
          </p:nvSpPr>
          <p:spPr>
            <a:xfrm>
              <a:off x="8322856" y="4129175"/>
              <a:ext cx="1723340" cy="10669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200" b="1">
                  <a:solidFill>
                    <a:srgbClr val="575757"/>
                  </a:solidFill>
                  <a:latin typeface="+mj-lt"/>
                </a:rPr>
                <a:t>TRUMPF TCC</a:t>
              </a:r>
            </a:p>
            <a:p>
              <a:pPr algn="ctr">
                <a:lnSpc>
                  <a:spcPct val="150000"/>
                </a:lnSpc>
              </a:pPr>
              <a:r>
                <a:rPr lang="de-DE" sz="1051">
                  <a:solidFill>
                    <a:srgbClr val="575757"/>
                  </a:solidFill>
                  <a:latin typeface="+mj-lt"/>
                </a:rPr>
                <a:t>Einzug in die neue TRUMPF Erlebniswelt in Ditzingen</a:t>
              </a:r>
            </a:p>
          </p:txBody>
        </p:sp>
        <p:sp>
          <p:nvSpPr>
            <p:cNvPr id="20" name="Rectangle 24">
              <a:extLst>
                <a:ext uri="{FF2B5EF4-FFF2-40B4-BE49-F238E27FC236}">
                  <a16:creationId xmlns:a16="http://schemas.microsoft.com/office/drawing/2014/main" id="{30744C76-408A-B1C3-E48F-1B28AE32B372}"/>
                </a:ext>
              </a:extLst>
            </p:cNvPr>
            <p:cNvSpPr/>
            <p:nvPr/>
          </p:nvSpPr>
          <p:spPr>
            <a:xfrm>
              <a:off x="6252337" y="4129175"/>
              <a:ext cx="1723340" cy="8243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200" b="1">
                  <a:solidFill>
                    <a:srgbClr val="575757"/>
                  </a:solidFill>
                  <a:latin typeface="+mj-lt"/>
                </a:rPr>
                <a:t>Second Home</a:t>
              </a:r>
            </a:p>
            <a:p>
              <a:pPr algn="ctr">
                <a:lnSpc>
                  <a:spcPct val="150000"/>
                </a:lnSpc>
              </a:pPr>
              <a:r>
                <a:rPr lang="en-US" sz="1051">
                  <a:solidFill>
                    <a:srgbClr val="575757"/>
                  </a:solidFill>
                  <a:latin typeface="+mj-lt"/>
                </a:rPr>
                <a:t>Interims-</a:t>
              </a:r>
              <a:r>
                <a:rPr lang="en-US" sz="1051" err="1">
                  <a:solidFill>
                    <a:srgbClr val="575757"/>
                  </a:solidFill>
                  <a:latin typeface="+mj-lt"/>
                </a:rPr>
                <a:t>Umzug</a:t>
              </a:r>
              <a:r>
                <a:rPr lang="en-US" sz="1051">
                  <a:solidFill>
                    <a:srgbClr val="575757"/>
                  </a:solidFill>
                  <a:latin typeface="+mj-lt"/>
                </a:rPr>
                <a:t> am </a:t>
              </a:r>
              <a:r>
                <a:rPr lang="en-US" sz="1051" err="1">
                  <a:solidFill>
                    <a:srgbClr val="575757"/>
                  </a:solidFill>
                  <a:latin typeface="+mj-lt"/>
                </a:rPr>
                <a:t>Standort</a:t>
              </a:r>
              <a:r>
                <a:rPr lang="en-US" sz="1051">
                  <a:solidFill>
                    <a:srgbClr val="575757"/>
                  </a:solidFill>
                  <a:latin typeface="+mj-lt"/>
                </a:rPr>
                <a:t> Ditzingen</a:t>
              </a:r>
            </a:p>
          </p:txBody>
        </p:sp>
        <p:sp>
          <p:nvSpPr>
            <p:cNvPr id="21" name="Rectangle 25">
              <a:extLst>
                <a:ext uri="{FF2B5EF4-FFF2-40B4-BE49-F238E27FC236}">
                  <a16:creationId xmlns:a16="http://schemas.microsoft.com/office/drawing/2014/main" id="{B5F32020-C7EC-CB97-FF40-215F23A90EF1}"/>
                </a:ext>
              </a:extLst>
            </p:cNvPr>
            <p:cNvSpPr/>
            <p:nvPr/>
          </p:nvSpPr>
          <p:spPr>
            <a:xfrm>
              <a:off x="4181818" y="4129175"/>
              <a:ext cx="1723340" cy="10669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200" b="1" err="1">
                  <a:solidFill>
                    <a:srgbClr val="575757"/>
                  </a:solidFill>
                  <a:latin typeface="+mj-lt"/>
                </a:rPr>
                <a:t>Umsetzungsphase</a:t>
              </a:r>
              <a:endParaRPr lang="en-US" sz="1200" b="1">
                <a:solidFill>
                  <a:srgbClr val="575757"/>
                </a:solidFill>
                <a:latin typeface="+mj-lt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1051">
                  <a:solidFill>
                    <a:srgbClr val="575757"/>
                  </a:solidFill>
                  <a:latin typeface="+mj-lt"/>
                </a:rPr>
                <a:t>Integration der </a:t>
              </a:r>
              <a:r>
                <a:rPr lang="en-US" sz="1051" err="1">
                  <a:solidFill>
                    <a:srgbClr val="575757"/>
                  </a:solidFill>
                  <a:latin typeface="+mj-lt"/>
                </a:rPr>
                <a:t>Produktion</a:t>
              </a:r>
              <a:r>
                <a:rPr lang="en-US" sz="1051">
                  <a:solidFill>
                    <a:srgbClr val="575757"/>
                  </a:solidFill>
                  <a:latin typeface="+mj-lt"/>
                </a:rPr>
                <a:t> in das Customer Center</a:t>
              </a:r>
            </a:p>
          </p:txBody>
        </p:sp>
        <p:sp>
          <p:nvSpPr>
            <p:cNvPr id="22" name="Freeform 61">
              <a:extLst>
                <a:ext uri="{FF2B5EF4-FFF2-40B4-BE49-F238E27FC236}">
                  <a16:creationId xmlns:a16="http://schemas.microsoft.com/office/drawing/2014/main" id="{7ACCA4A6-9C2F-CFB8-4E85-3F43F20B61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09678" y="2609701"/>
              <a:ext cx="415925" cy="396875"/>
            </a:xfrm>
            <a:custGeom>
              <a:avLst/>
              <a:gdLst/>
              <a:ahLst/>
              <a:cxnLst>
                <a:cxn ang="0">
                  <a:pos x="256" y="128"/>
                </a:cxn>
                <a:cxn ang="0">
                  <a:pos x="244" y="140"/>
                </a:cxn>
                <a:cxn ang="0">
                  <a:pos x="236" y="137"/>
                </a:cxn>
                <a:cxn ang="0">
                  <a:pos x="236" y="137"/>
                </a:cxn>
                <a:cxn ang="0">
                  <a:pos x="128" y="29"/>
                </a:cxn>
                <a:cxn ang="0">
                  <a:pos x="128" y="29"/>
                </a:cxn>
                <a:cxn ang="0">
                  <a:pos x="128" y="29"/>
                </a:cxn>
                <a:cxn ang="0">
                  <a:pos x="20" y="137"/>
                </a:cxn>
                <a:cxn ang="0">
                  <a:pos x="20" y="137"/>
                </a:cxn>
                <a:cxn ang="0">
                  <a:pos x="12" y="140"/>
                </a:cxn>
                <a:cxn ang="0">
                  <a:pos x="0" y="128"/>
                </a:cxn>
                <a:cxn ang="0">
                  <a:pos x="4" y="119"/>
                </a:cxn>
                <a:cxn ang="0">
                  <a:pos x="119" y="4"/>
                </a:cxn>
                <a:cxn ang="0">
                  <a:pos x="128" y="0"/>
                </a:cxn>
                <a:cxn ang="0">
                  <a:pos x="128" y="0"/>
                </a:cxn>
                <a:cxn ang="0">
                  <a:pos x="129" y="0"/>
                </a:cxn>
                <a:cxn ang="0">
                  <a:pos x="129" y="0"/>
                </a:cxn>
                <a:cxn ang="0">
                  <a:pos x="129" y="0"/>
                </a:cxn>
                <a:cxn ang="0">
                  <a:pos x="129" y="0"/>
                </a:cxn>
                <a:cxn ang="0">
                  <a:pos x="137" y="4"/>
                </a:cxn>
                <a:cxn ang="0">
                  <a:pos x="137" y="4"/>
                </a:cxn>
                <a:cxn ang="0">
                  <a:pos x="184" y="51"/>
                </a:cxn>
                <a:cxn ang="0">
                  <a:pos x="184" y="40"/>
                </a:cxn>
                <a:cxn ang="0">
                  <a:pos x="196" y="28"/>
                </a:cxn>
                <a:cxn ang="0">
                  <a:pos x="208" y="40"/>
                </a:cxn>
                <a:cxn ang="0">
                  <a:pos x="208" y="75"/>
                </a:cxn>
                <a:cxn ang="0">
                  <a:pos x="253" y="120"/>
                </a:cxn>
                <a:cxn ang="0">
                  <a:pos x="253" y="120"/>
                </a:cxn>
                <a:cxn ang="0">
                  <a:pos x="256" y="128"/>
                </a:cxn>
                <a:cxn ang="0">
                  <a:pos x="232" y="148"/>
                </a:cxn>
                <a:cxn ang="0">
                  <a:pos x="232" y="184"/>
                </a:cxn>
                <a:cxn ang="0">
                  <a:pos x="232" y="200"/>
                </a:cxn>
                <a:cxn ang="0">
                  <a:pos x="232" y="232"/>
                </a:cxn>
                <a:cxn ang="0">
                  <a:pos x="220" y="244"/>
                </a:cxn>
                <a:cxn ang="0">
                  <a:pos x="196" y="244"/>
                </a:cxn>
                <a:cxn ang="0">
                  <a:pos x="196" y="148"/>
                </a:cxn>
                <a:cxn ang="0">
                  <a:pos x="148" y="148"/>
                </a:cxn>
                <a:cxn ang="0">
                  <a:pos x="148" y="244"/>
                </a:cxn>
                <a:cxn ang="0">
                  <a:pos x="36" y="244"/>
                </a:cxn>
                <a:cxn ang="0">
                  <a:pos x="24" y="232"/>
                </a:cxn>
                <a:cxn ang="0">
                  <a:pos x="24" y="200"/>
                </a:cxn>
                <a:cxn ang="0">
                  <a:pos x="24" y="184"/>
                </a:cxn>
                <a:cxn ang="0">
                  <a:pos x="24" y="148"/>
                </a:cxn>
                <a:cxn ang="0">
                  <a:pos x="128" y="44"/>
                </a:cxn>
                <a:cxn ang="0">
                  <a:pos x="232" y="148"/>
                </a:cxn>
                <a:cxn ang="0">
                  <a:pos x="108" y="148"/>
                </a:cxn>
                <a:cxn ang="0">
                  <a:pos x="60" y="148"/>
                </a:cxn>
                <a:cxn ang="0">
                  <a:pos x="60" y="196"/>
                </a:cxn>
                <a:cxn ang="0">
                  <a:pos x="108" y="196"/>
                </a:cxn>
                <a:cxn ang="0">
                  <a:pos x="108" y="148"/>
                </a:cxn>
              </a:cxnLst>
              <a:rect l="0" t="0" r="r" b="b"/>
              <a:pathLst>
                <a:path w="256" h="244">
                  <a:moveTo>
                    <a:pt x="256" y="128"/>
                  </a:moveTo>
                  <a:cubicBezTo>
                    <a:pt x="256" y="135"/>
                    <a:pt x="251" y="140"/>
                    <a:pt x="244" y="140"/>
                  </a:cubicBezTo>
                  <a:cubicBezTo>
                    <a:pt x="241" y="140"/>
                    <a:pt x="238" y="139"/>
                    <a:pt x="236" y="137"/>
                  </a:cubicBezTo>
                  <a:cubicBezTo>
                    <a:pt x="236" y="137"/>
                    <a:pt x="236" y="137"/>
                    <a:pt x="236" y="137"/>
                  </a:cubicBezTo>
                  <a:cubicBezTo>
                    <a:pt x="128" y="29"/>
                    <a:pt x="128" y="29"/>
                    <a:pt x="128" y="29"/>
                  </a:cubicBezTo>
                  <a:cubicBezTo>
                    <a:pt x="128" y="29"/>
                    <a:pt x="128" y="29"/>
                    <a:pt x="128" y="29"/>
                  </a:cubicBezTo>
                  <a:cubicBezTo>
                    <a:pt x="128" y="29"/>
                    <a:pt x="128" y="29"/>
                    <a:pt x="128" y="29"/>
                  </a:cubicBezTo>
                  <a:cubicBezTo>
                    <a:pt x="20" y="137"/>
                    <a:pt x="20" y="137"/>
                    <a:pt x="20" y="137"/>
                  </a:cubicBezTo>
                  <a:cubicBezTo>
                    <a:pt x="20" y="137"/>
                    <a:pt x="20" y="137"/>
                    <a:pt x="20" y="137"/>
                  </a:cubicBezTo>
                  <a:cubicBezTo>
                    <a:pt x="18" y="139"/>
                    <a:pt x="15" y="140"/>
                    <a:pt x="12" y="140"/>
                  </a:cubicBezTo>
                  <a:cubicBezTo>
                    <a:pt x="5" y="140"/>
                    <a:pt x="0" y="135"/>
                    <a:pt x="0" y="128"/>
                  </a:cubicBezTo>
                  <a:cubicBezTo>
                    <a:pt x="0" y="125"/>
                    <a:pt x="1" y="122"/>
                    <a:pt x="4" y="11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22" y="1"/>
                    <a:pt x="125" y="0"/>
                    <a:pt x="128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8" y="0"/>
                    <a:pt x="128" y="0"/>
                    <a:pt x="1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32" y="0"/>
                    <a:pt x="135" y="2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84" y="51"/>
                    <a:pt x="184" y="51"/>
                    <a:pt x="184" y="51"/>
                  </a:cubicBezTo>
                  <a:cubicBezTo>
                    <a:pt x="184" y="40"/>
                    <a:pt x="184" y="40"/>
                    <a:pt x="184" y="40"/>
                  </a:cubicBezTo>
                  <a:cubicBezTo>
                    <a:pt x="184" y="33"/>
                    <a:pt x="189" y="28"/>
                    <a:pt x="196" y="28"/>
                  </a:cubicBezTo>
                  <a:cubicBezTo>
                    <a:pt x="203" y="28"/>
                    <a:pt x="208" y="33"/>
                    <a:pt x="208" y="40"/>
                  </a:cubicBezTo>
                  <a:cubicBezTo>
                    <a:pt x="208" y="75"/>
                    <a:pt x="208" y="75"/>
                    <a:pt x="208" y="75"/>
                  </a:cubicBezTo>
                  <a:cubicBezTo>
                    <a:pt x="253" y="120"/>
                    <a:pt x="253" y="120"/>
                    <a:pt x="253" y="120"/>
                  </a:cubicBezTo>
                  <a:cubicBezTo>
                    <a:pt x="253" y="120"/>
                    <a:pt x="253" y="120"/>
                    <a:pt x="253" y="120"/>
                  </a:cubicBezTo>
                  <a:cubicBezTo>
                    <a:pt x="255" y="122"/>
                    <a:pt x="256" y="125"/>
                    <a:pt x="256" y="128"/>
                  </a:cubicBezTo>
                  <a:moveTo>
                    <a:pt x="232" y="148"/>
                  </a:moveTo>
                  <a:cubicBezTo>
                    <a:pt x="232" y="184"/>
                    <a:pt x="232" y="184"/>
                    <a:pt x="232" y="184"/>
                  </a:cubicBezTo>
                  <a:cubicBezTo>
                    <a:pt x="232" y="200"/>
                    <a:pt x="232" y="200"/>
                    <a:pt x="232" y="200"/>
                  </a:cubicBezTo>
                  <a:cubicBezTo>
                    <a:pt x="232" y="232"/>
                    <a:pt x="232" y="232"/>
                    <a:pt x="232" y="232"/>
                  </a:cubicBezTo>
                  <a:cubicBezTo>
                    <a:pt x="232" y="239"/>
                    <a:pt x="227" y="244"/>
                    <a:pt x="220" y="244"/>
                  </a:cubicBezTo>
                  <a:cubicBezTo>
                    <a:pt x="196" y="244"/>
                    <a:pt x="196" y="244"/>
                    <a:pt x="196" y="244"/>
                  </a:cubicBezTo>
                  <a:cubicBezTo>
                    <a:pt x="196" y="148"/>
                    <a:pt x="196" y="148"/>
                    <a:pt x="196" y="148"/>
                  </a:cubicBezTo>
                  <a:cubicBezTo>
                    <a:pt x="148" y="148"/>
                    <a:pt x="148" y="148"/>
                    <a:pt x="148" y="148"/>
                  </a:cubicBezTo>
                  <a:cubicBezTo>
                    <a:pt x="148" y="244"/>
                    <a:pt x="148" y="244"/>
                    <a:pt x="148" y="244"/>
                  </a:cubicBezTo>
                  <a:cubicBezTo>
                    <a:pt x="36" y="244"/>
                    <a:pt x="36" y="244"/>
                    <a:pt x="36" y="244"/>
                  </a:cubicBezTo>
                  <a:cubicBezTo>
                    <a:pt x="29" y="244"/>
                    <a:pt x="24" y="239"/>
                    <a:pt x="24" y="232"/>
                  </a:cubicBezTo>
                  <a:cubicBezTo>
                    <a:pt x="24" y="200"/>
                    <a:pt x="24" y="200"/>
                    <a:pt x="24" y="200"/>
                  </a:cubicBezTo>
                  <a:cubicBezTo>
                    <a:pt x="24" y="184"/>
                    <a:pt x="24" y="184"/>
                    <a:pt x="24" y="184"/>
                  </a:cubicBezTo>
                  <a:cubicBezTo>
                    <a:pt x="24" y="148"/>
                    <a:pt x="24" y="148"/>
                    <a:pt x="24" y="148"/>
                  </a:cubicBezTo>
                  <a:cubicBezTo>
                    <a:pt x="128" y="44"/>
                    <a:pt x="128" y="44"/>
                    <a:pt x="128" y="44"/>
                  </a:cubicBezTo>
                  <a:lnTo>
                    <a:pt x="232" y="148"/>
                  </a:lnTo>
                  <a:close/>
                  <a:moveTo>
                    <a:pt x="108" y="148"/>
                  </a:moveTo>
                  <a:cubicBezTo>
                    <a:pt x="60" y="148"/>
                    <a:pt x="60" y="148"/>
                    <a:pt x="60" y="148"/>
                  </a:cubicBezTo>
                  <a:cubicBezTo>
                    <a:pt x="60" y="196"/>
                    <a:pt x="60" y="196"/>
                    <a:pt x="60" y="196"/>
                  </a:cubicBezTo>
                  <a:cubicBezTo>
                    <a:pt x="108" y="196"/>
                    <a:pt x="108" y="196"/>
                    <a:pt x="108" y="196"/>
                  </a:cubicBezTo>
                  <a:lnTo>
                    <a:pt x="108" y="148"/>
                  </a:lnTo>
                  <a:close/>
                </a:path>
              </a:pathLst>
            </a:custGeom>
            <a:solidFill>
              <a:srgbClr val="57575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1">
              <a:extLst>
                <a:ext uri="{FF2B5EF4-FFF2-40B4-BE49-F238E27FC236}">
                  <a16:creationId xmlns:a16="http://schemas.microsoft.com/office/drawing/2014/main" id="{7AB9FB27-69B5-DA88-BDAE-3E2754BC54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75771" y="2646058"/>
              <a:ext cx="417513" cy="377825"/>
            </a:xfrm>
            <a:custGeom>
              <a:avLst/>
              <a:gdLst/>
              <a:ahLst/>
              <a:cxnLst>
                <a:cxn ang="0">
                  <a:pos x="256" y="96"/>
                </a:cxn>
                <a:cxn ang="0">
                  <a:pos x="224" y="128"/>
                </a:cxn>
                <a:cxn ang="0">
                  <a:pos x="192" y="96"/>
                </a:cxn>
                <a:cxn ang="0">
                  <a:pos x="160" y="128"/>
                </a:cxn>
                <a:cxn ang="0">
                  <a:pos x="128" y="96"/>
                </a:cxn>
                <a:cxn ang="0">
                  <a:pos x="96" y="128"/>
                </a:cxn>
                <a:cxn ang="0">
                  <a:pos x="64" y="96"/>
                </a:cxn>
                <a:cxn ang="0">
                  <a:pos x="32" y="128"/>
                </a:cxn>
                <a:cxn ang="0">
                  <a:pos x="0" y="96"/>
                </a:cxn>
                <a:cxn ang="0">
                  <a:pos x="23" y="36"/>
                </a:cxn>
                <a:cxn ang="0">
                  <a:pos x="234" y="36"/>
                </a:cxn>
                <a:cxn ang="0">
                  <a:pos x="256" y="96"/>
                </a:cxn>
                <a:cxn ang="0">
                  <a:pos x="216" y="24"/>
                </a:cxn>
                <a:cxn ang="0">
                  <a:pos x="40" y="24"/>
                </a:cxn>
                <a:cxn ang="0">
                  <a:pos x="28" y="12"/>
                </a:cxn>
                <a:cxn ang="0">
                  <a:pos x="40" y="0"/>
                </a:cxn>
                <a:cxn ang="0">
                  <a:pos x="216" y="0"/>
                </a:cxn>
                <a:cxn ang="0">
                  <a:pos x="228" y="12"/>
                </a:cxn>
                <a:cxn ang="0">
                  <a:pos x="216" y="24"/>
                </a:cxn>
                <a:cxn ang="0">
                  <a:pos x="36" y="140"/>
                </a:cxn>
                <a:cxn ang="0">
                  <a:pos x="36" y="140"/>
                </a:cxn>
                <a:cxn ang="0">
                  <a:pos x="39" y="139"/>
                </a:cxn>
                <a:cxn ang="0">
                  <a:pos x="40" y="139"/>
                </a:cxn>
                <a:cxn ang="0">
                  <a:pos x="42" y="139"/>
                </a:cxn>
                <a:cxn ang="0">
                  <a:pos x="48" y="137"/>
                </a:cxn>
                <a:cxn ang="0">
                  <a:pos x="48" y="137"/>
                </a:cxn>
                <a:cxn ang="0">
                  <a:pos x="48" y="196"/>
                </a:cxn>
                <a:cxn ang="0">
                  <a:pos x="208" y="196"/>
                </a:cxn>
                <a:cxn ang="0">
                  <a:pos x="208" y="137"/>
                </a:cxn>
                <a:cxn ang="0">
                  <a:pos x="208" y="137"/>
                </a:cxn>
                <a:cxn ang="0">
                  <a:pos x="214" y="139"/>
                </a:cxn>
                <a:cxn ang="0">
                  <a:pos x="216" y="139"/>
                </a:cxn>
                <a:cxn ang="0">
                  <a:pos x="217" y="139"/>
                </a:cxn>
                <a:cxn ang="0">
                  <a:pos x="220" y="140"/>
                </a:cxn>
                <a:cxn ang="0">
                  <a:pos x="220" y="140"/>
                </a:cxn>
                <a:cxn ang="0">
                  <a:pos x="224" y="140"/>
                </a:cxn>
                <a:cxn ang="0">
                  <a:pos x="232" y="139"/>
                </a:cxn>
                <a:cxn ang="0">
                  <a:pos x="232" y="220"/>
                </a:cxn>
                <a:cxn ang="0">
                  <a:pos x="220" y="232"/>
                </a:cxn>
                <a:cxn ang="0">
                  <a:pos x="36" y="232"/>
                </a:cxn>
                <a:cxn ang="0">
                  <a:pos x="24" y="220"/>
                </a:cxn>
                <a:cxn ang="0">
                  <a:pos x="24" y="139"/>
                </a:cxn>
                <a:cxn ang="0">
                  <a:pos x="32" y="140"/>
                </a:cxn>
                <a:cxn ang="0">
                  <a:pos x="36" y="140"/>
                </a:cxn>
              </a:cxnLst>
              <a:rect l="0" t="0" r="r" b="b"/>
              <a:pathLst>
                <a:path w="256" h="232">
                  <a:moveTo>
                    <a:pt x="256" y="96"/>
                  </a:moveTo>
                  <a:cubicBezTo>
                    <a:pt x="256" y="114"/>
                    <a:pt x="242" y="128"/>
                    <a:pt x="224" y="128"/>
                  </a:cubicBezTo>
                  <a:cubicBezTo>
                    <a:pt x="206" y="128"/>
                    <a:pt x="192" y="114"/>
                    <a:pt x="192" y="96"/>
                  </a:cubicBezTo>
                  <a:cubicBezTo>
                    <a:pt x="192" y="114"/>
                    <a:pt x="178" y="128"/>
                    <a:pt x="160" y="128"/>
                  </a:cubicBezTo>
                  <a:cubicBezTo>
                    <a:pt x="142" y="128"/>
                    <a:pt x="128" y="114"/>
                    <a:pt x="128" y="96"/>
                  </a:cubicBezTo>
                  <a:cubicBezTo>
                    <a:pt x="128" y="114"/>
                    <a:pt x="114" y="128"/>
                    <a:pt x="96" y="128"/>
                  </a:cubicBezTo>
                  <a:cubicBezTo>
                    <a:pt x="78" y="128"/>
                    <a:pt x="64" y="114"/>
                    <a:pt x="64" y="96"/>
                  </a:cubicBezTo>
                  <a:cubicBezTo>
                    <a:pt x="64" y="114"/>
                    <a:pt x="50" y="128"/>
                    <a:pt x="32" y="128"/>
                  </a:cubicBezTo>
                  <a:cubicBezTo>
                    <a:pt x="14" y="128"/>
                    <a:pt x="0" y="114"/>
                    <a:pt x="0" y="9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4" y="36"/>
                    <a:pt x="234" y="36"/>
                    <a:pt x="234" y="36"/>
                  </a:cubicBezTo>
                  <a:lnTo>
                    <a:pt x="256" y="96"/>
                  </a:lnTo>
                  <a:close/>
                  <a:moveTo>
                    <a:pt x="216" y="24"/>
                  </a:moveTo>
                  <a:cubicBezTo>
                    <a:pt x="40" y="24"/>
                    <a:pt x="40" y="24"/>
                    <a:pt x="40" y="24"/>
                  </a:cubicBezTo>
                  <a:cubicBezTo>
                    <a:pt x="33" y="24"/>
                    <a:pt x="28" y="19"/>
                    <a:pt x="28" y="12"/>
                  </a:cubicBezTo>
                  <a:cubicBezTo>
                    <a:pt x="28" y="5"/>
                    <a:pt x="33" y="0"/>
                    <a:pt x="40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23" y="0"/>
                    <a:pt x="228" y="5"/>
                    <a:pt x="228" y="12"/>
                  </a:cubicBezTo>
                  <a:cubicBezTo>
                    <a:pt x="228" y="19"/>
                    <a:pt x="223" y="24"/>
                    <a:pt x="216" y="24"/>
                  </a:cubicBezTo>
                  <a:moveTo>
                    <a:pt x="36" y="140"/>
                  </a:moveTo>
                  <a:cubicBezTo>
                    <a:pt x="36" y="140"/>
                    <a:pt x="36" y="140"/>
                    <a:pt x="36" y="140"/>
                  </a:cubicBezTo>
                  <a:cubicBezTo>
                    <a:pt x="37" y="140"/>
                    <a:pt x="38" y="140"/>
                    <a:pt x="39" y="139"/>
                  </a:cubicBezTo>
                  <a:cubicBezTo>
                    <a:pt x="40" y="139"/>
                    <a:pt x="40" y="139"/>
                    <a:pt x="40" y="139"/>
                  </a:cubicBezTo>
                  <a:cubicBezTo>
                    <a:pt x="41" y="139"/>
                    <a:pt x="41" y="139"/>
                    <a:pt x="42" y="139"/>
                  </a:cubicBezTo>
                  <a:cubicBezTo>
                    <a:pt x="44" y="138"/>
                    <a:pt x="46" y="138"/>
                    <a:pt x="48" y="137"/>
                  </a:cubicBezTo>
                  <a:cubicBezTo>
                    <a:pt x="48" y="137"/>
                    <a:pt x="48" y="137"/>
                    <a:pt x="48" y="137"/>
                  </a:cubicBezTo>
                  <a:cubicBezTo>
                    <a:pt x="48" y="196"/>
                    <a:pt x="48" y="196"/>
                    <a:pt x="48" y="196"/>
                  </a:cubicBezTo>
                  <a:cubicBezTo>
                    <a:pt x="208" y="196"/>
                    <a:pt x="208" y="196"/>
                    <a:pt x="208" y="196"/>
                  </a:cubicBezTo>
                  <a:cubicBezTo>
                    <a:pt x="208" y="137"/>
                    <a:pt x="208" y="137"/>
                    <a:pt x="208" y="137"/>
                  </a:cubicBezTo>
                  <a:cubicBezTo>
                    <a:pt x="208" y="137"/>
                    <a:pt x="208" y="137"/>
                    <a:pt x="208" y="137"/>
                  </a:cubicBezTo>
                  <a:cubicBezTo>
                    <a:pt x="210" y="138"/>
                    <a:pt x="212" y="138"/>
                    <a:pt x="214" y="139"/>
                  </a:cubicBezTo>
                  <a:cubicBezTo>
                    <a:pt x="215" y="139"/>
                    <a:pt x="215" y="139"/>
                    <a:pt x="216" y="139"/>
                  </a:cubicBezTo>
                  <a:cubicBezTo>
                    <a:pt x="216" y="139"/>
                    <a:pt x="216" y="139"/>
                    <a:pt x="217" y="139"/>
                  </a:cubicBezTo>
                  <a:cubicBezTo>
                    <a:pt x="218" y="140"/>
                    <a:pt x="219" y="140"/>
                    <a:pt x="220" y="140"/>
                  </a:cubicBezTo>
                  <a:cubicBezTo>
                    <a:pt x="220" y="140"/>
                    <a:pt x="220" y="140"/>
                    <a:pt x="220" y="140"/>
                  </a:cubicBezTo>
                  <a:cubicBezTo>
                    <a:pt x="221" y="140"/>
                    <a:pt x="223" y="140"/>
                    <a:pt x="224" y="140"/>
                  </a:cubicBezTo>
                  <a:cubicBezTo>
                    <a:pt x="227" y="140"/>
                    <a:pt x="229" y="140"/>
                    <a:pt x="232" y="139"/>
                  </a:cubicBezTo>
                  <a:cubicBezTo>
                    <a:pt x="232" y="220"/>
                    <a:pt x="232" y="220"/>
                    <a:pt x="232" y="220"/>
                  </a:cubicBezTo>
                  <a:cubicBezTo>
                    <a:pt x="232" y="227"/>
                    <a:pt x="227" y="232"/>
                    <a:pt x="220" y="232"/>
                  </a:cubicBezTo>
                  <a:cubicBezTo>
                    <a:pt x="36" y="232"/>
                    <a:pt x="36" y="232"/>
                    <a:pt x="36" y="232"/>
                  </a:cubicBezTo>
                  <a:cubicBezTo>
                    <a:pt x="29" y="232"/>
                    <a:pt x="24" y="227"/>
                    <a:pt x="24" y="220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27" y="140"/>
                    <a:pt x="29" y="140"/>
                    <a:pt x="32" y="140"/>
                  </a:cubicBezTo>
                  <a:cubicBezTo>
                    <a:pt x="33" y="140"/>
                    <a:pt x="35" y="140"/>
                    <a:pt x="36" y="140"/>
                  </a:cubicBezTo>
                </a:path>
              </a:pathLst>
            </a:custGeom>
            <a:solidFill>
              <a:srgbClr val="28517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648A3A00-952D-3F25-7184-04AB422AD802}"/>
                </a:ext>
              </a:extLst>
            </p:cNvPr>
            <p:cNvSpPr/>
            <p:nvPr/>
          </p:nvSpPr>
          <p:spPr>
            <a:xfrm>
              <a:off x="6061493" y="3738563"/>
              <a:ext cx="45719" cy="152400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  <p:sp>
          <p:nvSpPr>
            <p:cNvPr id="31" name="Shape 3781">
              <a:extLst>
                <a:ext uri="{FF2B5EF4-FFF2-40B4-BE49-F238E27FC236}">
                  <a16:creationId xmlns:a16="http://schemas.microsoft.com/office/drawing/2014/main" id="{658BFED9-49F0-B825-D786-1E06164B565B}"/>
                </a:ext>
              </a:extLst>
            </p:cNvPr>
            <p:cNvSpPr/>
            <p:nvPr/>
          </p:nvSpPr>
          <p:spPr>
            <a:xfrm>
              <a:off x="2781314" y="2609701"/>
              <a:ext cx="383311" cy="4226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00" y="0"/>
                  </a:moveTo>
                  <a:cubicBezTo>
                    <a:pt x="10640" y="0"/>
                    <a:pt x="10424" y="190"/>
                    <a:pt x="10424" y="416"/>
                  </a:cubicBezTo>
                  <a:lnTo>
                    <a:pt x="10424" y="1641"/>
                  </a:lnTo>
                  <a:cubicBezTo>
                    <a:pt x="10424" y="1870"/>
                    <a:pt x="10640" y="2057"/>
                    <a:pt x="10900" y="2057"/>
                  </a:cubicBezTo>
                  <a:cubicBezTo>
                    <a:pt x="11158" y="2057"/>
                    <a:pt x="11351" y="1870"/>
                    <a:pt x="11351" y="1641"/>
                  </a:cubicBezTo>
                  <a:lnTo>
                    <a:pt x="11351" y="416"/>
                  </a:lnTo>
                  <a:cubicBezTo>
                    <a:pt x="11351" y="190"/>
                    <a:pt x="11158" y="0"/>
                    <a:pt x="10900" y="0"/>
                  </a:cubicBezTo>
                  <a:close/>
                  <a:moveTo>
                    <a:pt x="5037" y="1444"/>
                  </a:moveTo>
                  <a:cubicBezTo>
                    <a:pt x="4813" y="1559"/>
                    <a:pt x="4732" y="1818"/>
                    <a:pt x="4861" y="2013"/>
                  </a:cubicBezTo>
                  <a:cubicBezTo>
                    <a:pt x="4861" y="2013"/>
                    <a:pt x="5563" y="3086"/>
                    <a:pt x="5563" y="3086"/>
                  </a:cubicBezTo>
                  <a:cubicBezTo>
                    <a:pt x="5653" y="3216"/>
                    <a:pt x="5826" y="3283"/>
                    <a:pt x="5989" y="3283"/>
                  </a:cubicBezTo>
                  <a:cubicBezTo>
                    <a:pt x="6067" y="3283"/>
                    <a:pt x="6139" y="3277"/>
                    <a:pt x="6214" y="3239"/>
                  </a:cubicBezTo>
                  <a:cubicBezTo>
                    <a:pt x="6440" y="3125"/>
                    <a:pt x="6520" y="2867"/>
                    <a:pt x="6390" y="2670"/>
                  </a:cubicBezTo>
                  <a:lnTo>
                    <a:pt x="5688" y="1598"/>
                  </a:lnTo>
                  <a:cubicBezTo>
                    <a:pt x="5559" y="1400"/>
                    <a:pt x="5265" y="1333"/>
                    <a:pt x="5037" y="1444"/>
                  </a:cubicBezTo>
                  <a:close/>
                  <a:moveTo>
                    <a:pt x="16639" y="1444"/>
                  </a:moveTo>
                  <a:cubicBezTo>
                    <a:pt x="16413" y="1333"/>
                    <a:pt x="16141" y="1400"/>
                    <a:pt x="16012" y="1598"/>
                  </a:cubicBezTo>
                  <a:lnTo>
                    <a:pt x="15285" y="2670"/>
                  </a:lnTo>
                  <a:cubicBezTo>
                    <a:pt x="15156" y="2865"/>
                    <a:pt x="15236" y="3124"/>
                    <a:pt x="15461" y="3239"/>
                  </a:cubicBezTo>
                  <a:cubicBezTo>
                    <a:pt x="15535" y="3275"/>
                    <a:pt x="15631" y="3283"/>
                    <a:pt x="15711" y="3283"/>
                  </a:cubicBezTo>
                  <a:cubicBezTo>
                    <a:pt x="15874" y="3283"/>
                    <a:pt x="16023" y="3216"/>
                    <a:pt x="16112" y="3086"/>
                  </a:cubicBezTo>
                  <a:lnTo>
                    <a:pt x="16814" y="2013"/>
                  </a:lnTo>
                  <a:cubicBezTo>
                    <a:pt x="16944" y="1818"/>
                    <a:pt x="16864" y="1559"/>
                    <a:pt x="16639" y="1444"/>
                  </a:cubicBezTo>
                  <a:close/>
                  <a:moveTo>
                    <a:pt x="10650" y="3502"/>
                  </a:moveTo>
                  <a:cubicBezTo>
                    <a:pt x="6545" y="3502"/>
                    <a:pt x="3207" y="6316"/>
                    <a:pt x="3207" y="9782"/>
                  </a:cubicBezTo>
                  <a:cubicBezTo>
                    <a:pt x="3207" y="12032"/>
                    <a:pt x="4243" y="13369"/>
                    <a:pt x="5012" y="14356"/>
                  </a:cubicBezTo>
                  <a:cubicBezTo>
                    <a:pt x="5486" y="14961"/>
                    <a:pt x="5763" y="15327"/>
                    <a:pt x="5763" y="15691"/>
                  </a:cubicBezTo>
                  <a:cubicBezTo>
                    <a:pt x="5763" y="16505"/>
                    <a:pt x="6253" y="17280"/>
                    <a:pt x="7142" y="17858"/>
                  </a:cubicBezTo>
                  <a:cubicBezTo>
                    <a:pt x="7165" y="18343"/>
                    <a:pt x="7267" y="19521"/>
                    <a:pt x="7267" y="19521"/>
                  </a:cubicBezTo>
                  <a:cubicBezTo>
                    <a:pt x="7279" y="19860"/>
                    <a:pt x="7470" y="20538"/>
                    <a:pt x="8795" y="20922"/>
                  </a:cubicBezTo>
                  <a:cubicBezTo>
                    <a:pt x="8950" y="21122"/>
                    <a:pt x="9149" y="21298"/>
                    <a:pt x="9397" y="21447"/>
                  </a:cubicBezTo>
                  <a:cubicBezTo>
                    <a:pt x="9552" y="21536"/>
                    <a:pt x="9735" y="21600"/>
                    <a:pt x="9923" y="21600"/>
                  </a:cubicBezTo>
                  <a:lnTo>
                    <a:pt x="11376" y="21600"/>
                  </a:lnTo>
                  <a:cubicBezTo>
                    <a:pt x="11563" y="21600"/>
                    <a:pt x="11747" y="21536"/>
                    <a:pt x="11903" y="21447"/>
                  </a:cubicBezTo>
                  <a:cubicBezTo>
                    <a:pt x="12152" y="21298"/>
                    <a:pt x="12347" y="21122"/>
                    <a:pt x="12504" y="20922"/>
                  </a:cubicBezTo>
                  <a:cubicBezTo>
                    <a:pt x="13836" y="20534"/>
                    <a:pt x="14047" y="19846"/>
                    <a:pt x="14058" y="19521"/>
                  </a:cubicBezTo>
                  <a:cubicBezTo>
                    <a:pt x="14058" y="19521"/>
                    <a:pt x="14135" y="18343"/>
                    <a:pt x="14158" y="17858"/>
                  </a:cubicBezTo>
                  <a:cubicBezTo>
                    <a:pt x="15049" y="17283"/>
                    <a:pt x="15536" y="16505"/>
                    <a:pt x="15536" y="15691"/>
                  </a:cubicBezTo>
                  <a:cubicBezTo>
                    <a:pt x="15536" y="15327"/>
                    <a:pt x="15811" y="14968"/>
                    <a:pt x="16288" y="14356"/>
                  </a:cubicBezTo>
                  <a:cubicBezTo>
                    <a:pt x="17050" y="13380"/>
                    <a:pt x="18092" y="12032"/>
                    <a:pt x="18092" y="9782"/>
                  </a:cubicBezTo>
                  <a:cubicBezTo>
                    <a:pt x="18092" y="6316"/>
                    <a:pt x="14753" y="3502"/>
                    <a:pt x="10650" y="3502"/>
                  </a:cubicBezTo>
                  <a:close/>
                  <a:moveTo>
                    <a:pt x="1503" y="4946"/>
                  </a:moveTo>
                  <a:cubicBezTo>
                    <a:pt x="1280" y="4834"/>
                    <a:pt x="981" y="4902"/>
                    <a:pt x="852" y="5099"/>
                  </a:cubicBezTo>
                  <a:cubicBezTo>
                    <a:pt x="722" y="5295"/>
                    <a:pt x="804" y="5554"/>
                    <a:pt x="1027" y="5668"/>
                  </a:cubicBezTo>
                  <a:lnTo>
                    <a:pt x="2255" y="6281"/>
                  </a:lnTo>
                  <a:cubicBezTo>
                    <a:pt x="2326" y="6318"/>
                    <a:pt x="2401" y="6347"/>
                    <a:pt x="2481" y="6347"/>
                  </a:cubicBezTo>
                  <a:cubicBezTo>
                    <a:pt x="2642" y="6347"/>
                    <a:pt x="2818" y="6261"/>
                    <a:pt x="2907" y="6128"/>
                  </a:cubicBezTo>
                  <a:cubicBezTo>
                    <a:pt x="3038" y="5933"/>
                    <a:pt x="2956" y="5697"/>
                    <a:pt x="2731" y="5581"/>
                  </a:cubicBezTo>
                  <a:lnTo>
                    <a:pt x="1503" y="4946"/>
                  </a:lnTo>
                  <a:close/>
                  <a:moveTo>
                    <a:pt x="19896" y="4946"/>
                  </a:moveTo>
                  <a:lnTo>
                    <a:pt x="18668" y="5581"/>
                  </a:lnTo>
                  <a:cubicBezTo>
                    <a:pt x="18445" y="5697"/>
                    <a:pt x="18363" y="5933"/>
                    <a:pt x="18493" y="6128"/>
                  </a:cubicBezTo>
                  <a:cubicBezTo>
                    <a:pt x="18581" y="6261"/>
                    <a:pt x="18757" y="6347"/>
                    <a:pt x="18919" y="6347"/>
                  </a:cubicBezTo>
                  <a:cubicBezTo>
                    <a:pt x="18997" y="6347"/>
                    <a:pt x="19070" y="6318"/>
                    <a:pt x="19144" y="6281"/>
                  </a:cubicBezTo>
                  <a:lnTo>
                    <a:pt x="20372" y="5668"/>
                  </a:lnTo>
                  <a:cubicBezTo>
                    <a:pt x="20598" y="5554"/>
                    <a:pt x="20677" y="5295"/>
                    <a:pt x="20548" y="5099"/>
                  </a:cubicBezTo>
                  <a:cubicBezTo>
                    <a:pt x="20418" y="4902"/>
                    <a:pt x="20122" y="4834"/>
                    <a:pt x="19896" y="4946"/>
                  </a:cubicBezTo>
                  <a:close/>
                  <a:moveTo>
                    <a:pt x="10650" y="5143"/>
                  </a:moveTo>
                  <a:cubicBezTo>
                    <a:pt x="13718" y="5143"/>
                    <a:pt x="16213" y="7221"/>
                    <a:pt x="16213" y="9782"/>
                  </a:cubicBezTo>
                  <a:cubicBezTo>
                    <a:pt x="16213" y="11526"/>
                    <a:pt x="15435" y="12540"/>
                    <a:pt x="14734" y="13437"/>
                  </a:cubicBezTo>
                  <a:cubicBezTo>
                    <a:pt x="14184" y="14142"/>
                    <a:pt x="13657" y="14802"/>
                    <a:pt x="13657" y="15691"/>
                  </a:cubicBezTo>
                  <a:cubicBezTo>
                    <a:pt x="13657" y="16081"/>
                    <a:pt x="13253" y="16385"/>
                    <a:pt x="12955" y="16567"/>
                  </a:cubicBezTo>
                  <a:lnTo>
                    <a:pt x="8344" y="16567"/>
                  </a:lnTo>
                  <a:cubicBezTo>
                    <a:pt x="8044" y="16385"/>
                    <a:pt x="7643" y="16081"/>
                    <a:pt x="7643" y="15691"/>
                  </a:cubicBezTo>
                  <a:cubicBezTo>
                    <a:pt x="7643" y="14802"/>
                    <a:pt x="7123" y="14148"/>
                    <a:pt x="6565" y="13437"/>
                  </a:cubicBezTo>
                  <a:cubicBezTo>
                    <a:pt x="5872" y="12544"/>
                    <a:pt x="5087" y="11522"/>
                    <a:pt x="5087" y="9782"/>
                  </a:cubicBezTo>
                  <a:cubicBezTo>
                    <a:pt x="5087" y="7223"/>
                    <a:pt x="7581" y="5143"/>
                    <a:pt x="10650" y="5143"/>
                  </a:cubicBezTo>
                  <a:close/>
                  <a:moveTo>
                    <a:pt x="10750" y="6303"/>
                  </a:moveTo>
                  <a:cubicBezTo>
                    <a:pt x="10030" y="6303"/>
                    <a:pt x="9622" y="6626"/>
                    <a:pt x="9622" y="7266"/>
                  </a:cubicBezTo>
                  <a:lnTo>
                    <a:pt x="9622" y="8710"/>
                  </a:lnTo>
                  <a:cubicBezTo>
                    <a:pt x="9622" y="8899"/>
                    <a:pt x="9643" y="9101"/>
                    <a:pt x="9672" y="9301"/>
                  </a:cubicBezTo>
                  <a:cubicBezTo>
                    <a:pt x="9672" y="9301"/>
                    <a:pt x="10123" y="12233"/>
                    <a:pt x="10123" y="12233"/>
                  </a:cubicBezTo>
                  <a:cubicBezTo>
                    <a:pt x="10182" y="12595"/>
                    <a:pt x="10376" y="12715"/>
                    <a:pt x="10750" y="12715"/>
                  </a:cubicBezTo>
                  <a:cubicBezTo>
                    <a:pt x="11119" y="12715"/>
                    <a:pt x="11322" y="12595"/>
                    <a:pt x="11376" y="12233"/>
                  </a:cubicBezTo>
                  <a:lnTo>
                    <a:pt x="11827" y="9301"/>
                  </a:lnTo>
                  <a:cubicBezTo>
                    <a:pt x="11852" y="9101"/>
                    <a:pt x="11877" y="8899"/>
                    <a:pt x="11877" y="8710"/>
                  </a:cubicBezTo>
                  <a:lnTo>
                    <a:pt x="11877" y="7266"/>
                  </a:lnTo>
                  <a:cubicBezTo>
                    <a:pt x="11877" y="6626"/>
                    <a:pt x="11465" y="6303"/>
                    <a:pt x="10750" y="6303"/>
                  </a:cubicBezTo>
                  <a:close/>
                  <a:moveTo>
                    <a:pt x="476" y="9104"/>
                  </a:moveTo>
                  <a:cubicBezTo>
                    <a:pt x="215" y="9104"/>
                    <a:pt x="0" y="9294"/>
                    <a:pt x="0" y="9520"/>
                  </a:cubicBezTo>
                  <a:cubicBezTo>
                    <a:pt x="0" y="9745"/>
                    <a:pt x="215" y="9936"/>
                    <a:pt x="476" y="9936"/>
                  </a:cubicBezTo>
                  <a:lnTo>
                    <a:pt x="1879" y="9936"/>
                  </a:lnTo>
                  <a:cubicBezTo>
                    <a:pt x="2140" y="9936"/>
                    <a:pt x="2355" y="9745"/>
                    <a:pt x="2355" y="9520"/>
                  </a:cubicBezTo>
                  <a:cubicBezTo>
                    <a:pt x="2355" y="9294"/>
                    <a:pt x="2140" y="9104"/>
                    <a:pt x="1879" y="9104"/>
                  </a:cubicBezTo>
                  <a:lnTo>
                    <a:pt x="476" y="9104"/>
                  </a:lnTo>
                  <a:close/>
                  <a:moveTo>
                    <a:pt x="19721" y="9104"/>
                  </a:moveTo>
                  <a:cubicBezTo>
                    <a:pt x="19462" y="9104"/>
                    <a:pt x="19245" y="9294"/>
                    <a:pt x="19245" y="9520"/>
                  </a:cubicBezTo>
                  <a:cubicBezTo>
                    <a:pt x="19245" y="9745"/>
                    <a:pt x="19462" y="9936"/>
                    <a:pt x="19721" y="9936"/>
                  </a:cubicBezTo>
                  <a:lnTo>
                    <a:pt x="21124" y="9936"/>
                  </a:lnTo>
                  <a:cubicBezTo>
                    <a:pt x="21384" y="9936"/>
                    <a:pt x="21600" y="9745"/>
                    <a:pt x="21600" y="9520"/>
                  </a:cubicBezTo>
                  <a:cubicBezTo>
                    <a:pt x="21600" y="9294"/>
                    <a:pt x="21384" y="9104"/>
                    <a:pt x="21124" y="9104"/>
                  </a:cubicBezTo>
                  <a:lnTo>
                    <a:pt x="19721" y="9104"/>
                  </a:lnTo>
                  <a:close/>
                  <a:moveTo>
                    <a:pt x="10800" y="13306"/>
                  </a:moveTo>
                  <a:cubicBezTo>
                    <a:pt x="10153" y="13306"/>
                    <a:pt x="9622" y="13769"/>
                    <a:pt x="9622" y="14334"/>
                  </a:cubicBezTo>
                  <a:cubicBezTo>
                    <a:pt x="9622" y="14896"/>
                    <a:pt x="10153" y="15363"/>
                    <a:pt x="10800" y="15363"/>
                  </a:cubicBezTo>
                  <a:cubicBezTo>
                    <a:pt x="11444" y="15363"/>
                    <a:pt x="11978" y="14896"/>
                    <a:pt x="11978" y="14334"/>
                  </a:cubicBezTo>
                  <a:cubicBezTo>
                    <a:pt x="11978" y="13769"/>
                    <a:pt x="11444" y="13306"/>
                    <a:pt x="10800" y="13306"/>
                  </a:cubicBezTo>
                  <a:close/>
                  <a:moveTo>
                    <a:pt x="2255" y="13350"/>
                  </a:moveTo>
                  <a:lnTo>
                    <a:pt x="1027" y="13984"/>
                  </a:lnTo>
                  <a:cubicBezTo>
                    <a:pt x="802" y="14100"/>
                    <a:pt x="722" y="14338"/>
                    <a:pt x="852" y="14531"/>
                  </a:cubicBezTo>
                  <a:cubicBezTo>
                    <a:pt x="937" y="14664"/>
                    <a:pt x="1120" y="14750"/>
                    <a:pt x="1278" y="14750"/>
                  </a:cubicBezTo>
                  <a:cubicBezTo>
                    <a:pt x="1362" y="14750"/>
                    <a:pt x="1429" y="14722"/>
                    <a:pt x="1503" y="14684"/>
                  </a:cubicBezTo>
                  <a:lnTo>
                    <a:pt x="2731" y="14072"/>
                  </a:lnTo>
                  <a:cubicBezTo>
                    <a:pt x="2955" y="13958"/>
                    <a:pt x="3038" y="13698"/>
                    <a:pt x="2907" y="13503"/>
                  </a:cubicBezTo>
                  <a:cubicBezTo>
                    <a:pt x="2778" y="13305"/>
                    <a:pt x="2481" y="13239"/>
                    <a:pt x="2255" y="13350"/>
                  </a:cubicBezTo>
                  <a:close/>
                  <a:moveTo>
                    <a:pt x="19144" y="13350"/>
                  </a:moveTo>
                  <a:cubicBezTo>
                    <a:pt x="18920" y="13239"/>
                    <a:pt x="18625" y="13305"/>
                    <a:pt x="18493" y="13503"/>
                  </a:cubicBezTo>
                  <a:cubicBezTo>
                    <a:pt x="18363" y="13698"/>
                    <a:pt x="18445" y="13958"/>
                    <a:pt x="18668" y="14072"/>
                  </a:cubicBezTo>
                  <a:lnTo>
                    <a:pt x="19896" y="14684"/>
                  </a:lnTo>
                  <a:cubicBezTo>
                    <a:pt x="19969" y="14722"/>
                    <a:pt x="20042" y="14750"/>
                    <a:pt x="20122" y="14750"/>
                  </a:cubicBezTo>
                  <a:cubicBezTo>
                    <a:pt x="20285" y="14750"/>
                    <a:pt x="20460" y="14661"/>
                    <a:pt x="20548" y="14531"/>
                  </a:cubicBezTo>
                  <a:cubicBezTo>
                    <a:pt x="20677" y="14334"/>
                    <a:pt x="20598" y="14100"/>
                    <a:pt x="20372" y="13984"/>
                  </a:cubicBezTo>
                  <a:lnTo>
                    <a:pt x="19144" y="13350"/>
                  </a:lnTo>
                  <a:close/>
                </a:path>
              </a:pathLst>
            </a:custGeom>
            <a:solidFill>
              <a:srgbClr val="575757"/>
            </a:solidFill>
            <a:ln w="12700">
              <a:miter lim="400000"/>
            </a:ln>
          </p:spPr>
          <p:txBody>
            <a:bodyPr lIns="38100" tIns="38100" rIns="38100" bIns="38100" anchor="ctr"/>
            <a:lstStyle>
              <a:lvl1pPr algn="ctr" defTabSz="825500">
                <a:defRPr sz="5000">
                  <a:latin typeface="+mn-lt"/>
                  <a:ea typeface="+mn-ea"/>
                  <a:cs typeface="+mn-cs"/>
                  <a:sym typeface="Helvetica Light"/>
                </a:defRPr>
              </a:lvl1pPr>
              <a:lvl2pPr indent="228600" algn="ctr" defTabSz="825500">
                <a:defRPr sz="5000">
                  <a:latin typeface="+mn-lt"/>
                  <a:ea typeface="+mn-ea"/>
                  <a:cs typeface="+mn-cs"/>
                  <a:sym typeface="Helvetica Light"/>
                </a:defRPr>
              </a:lvl2pPr>
              <a:lvl3pPr indent="457200" algn="ctr" defTabSz="825500">
                <a:defRPr sz="5000">
                  <a:latin typeface="+mn-lt"/>
                  <a:ea typeface="+mn-ea"/>
                  <a:cs typeface="+mn-cs"/>
                  <a:sym typeface="Helvetica Light"/>
                </a:defRPr>
              </a:lvl3pPr>
              <a:lvl4pPr indent="685800" algn="ctr" defTabSz="825500">
                <a:defRPr sz="5000">
                  <a:latin typeface="+mn-lt"/>
                  <a:ea typeface="+mn-ea"/>
                  <a:cs typeface="+mn-cs"/>
                  <a:sym typeface="Helvetica Light"/>
                </a:defRPr>
              </a:lvl4pPr>
              <a:lvl5pPr indent="914400" algn="ctr" defTabSz="825500">
                <a:defRPr sz="5000">
                  <a:latin typeface="+mn-lt"/>
                  <a:ea typeface="+mn-ea"/>
                  <a:cs typeface="+mn-cs"/>
                  <a:sym typeface="Helvetica Light"/>
                </a:defRPr>
              </a:lvl5pPr>
              <a:lvl6pPr indent="1143000" algn="ctr" defTabSz="825500">
                <a:defRPr sz="5000">
                  <a:latin typeface="+mn-lt"/>
                  <a:ea typeface="+mn-ea"/>
                  <a:cs typeface="+mn-cs"/>
                  <a:sym typeface="Helvetica Light"/>
                </a:defRPr>
              </a:lvl6pPr>
              <a:lvl7pPr indent="1371600" algn="ctr" defTabSz="825500">
                <a:defRPr sz="5000">
                  <a:latin typeface="+mn-lt"/>
                  <a:ea typeface="+mn-ea"/>
                  <a:cs typeface="+mn-cs"/>
                  <a:sym typeface="Helvetica Light"/>
                </a:defRPr>
              </a:lvl7pPr>
              <a:lvl8pPr indent="1600200" algn="ctr" defTabSz="825500">
                <a:defRPr sz="5000">
                  <a:latin typeface="+mn-lt"/>
                  <a:ea typeface="+mn-ea"/>
                  <a:cs typeface="+mn-cs"/>
                  <a:sym typeface="Helvetica Light"/>
                </a:defRPr>
              </a:lvl8pPr>
              <a:lvl9pPr indent="1828800" algn="ctr" defTabSz="825500">
                <a:defRPr sz="5000">
                  <a:latin typeface="+mn-lt"/>
                  <a:ea typeface="+mn-ea"/>
                  <a:cs typeface="+mn-cs"/>
                  <a:sym typeface="Helvetica Light"/>
                </a:defRPr>
              </a:lvl9pPr>
            </a:lstStyle>
            <a:p>
              <a:pPr lvl="0" defTabSz="4572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  <p:sp>
          <p:nvSpPr>
            <p:cNvPr id="96" name="Freeform 52">
              <a:extLst>
                <a:ext uri="{FF2B5EF4-FFF2-40B4-BE49-F238E27FC236}">
                  <a16:creationId xmlns:a16="http://schemas.microsoft.com/office/drawing/2014/main" id="{86177CEF-5007-CAC4-B942-115320DB20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46374" y="2646851"/>
              <a:ext cx="397731" cy="397735"/>
            </a:xfrm>
            <a:custGeom>
              <a:avLst/>
              <a:gdLst/>
              <a:ahLst/>
              <a:cxnLst>
                <a:cxn ang="0">
                  <a:pos x="27" y="55"/>
                </a:cxn>
                <a:cxn ang="0">
                  <a:pos x="0" y="27"/>
                </a:cxn>
                <a:cxn ang="0">
                  <a:pos x="27" y="0"/>
                </a:cxn>
                <a:cxn ang="0">
                  <a:pos x="55" y="27"/>
                </a:cxn>
                <a:cxn ang="0">
                  <a:pos x="27" y="55"/>
                </a:cxn>
                <a:cxn ang="0">
                  <a:pos x="27" y="8"/>
                </a:cxn>
                <a:cxn ang="0">
                  <a:pos x="8" y="27"/>
                </a:cxn>
                <a:cxn ang="0">
                  <a:pos x="27" y="47"/>
                </a:cxn>
                <a:cxn ang="0">
                  <a:pos x="47" y="27"/>
                </a:cxn>
                <a:cxn ang="0">
                  <a:pos x="27" y="8"/>
                </a:cxn>
                <a:cxn ang="0">
                  <a:pos x="32" y="31"/>
                </a:cxn>
                <a:cxn ang="0">
                  <a:pos x="31" y="32"/>
                </a:cxn>
                <a:cxn ang="0">
                  <a:pos x="19" y="32"/>
                </a:cxn>
                <a:cxn ang="0">
                  <a:pos x="18" y="31"/>
                </a:cxn>
                <a:cxn ang="0">
                  <a:pos x="18" y="28"/>
                </a:cxn>
                <a:cxn ang="0">
                  <a:pos x="19" y="27"/>
                </a:cxn>
                <a:cxn ang="0">
                  <a:pos x="27" y="27"/>
                </a:cxn>
                <a:cxn ang="0">
                  <a:pos x="27" y="15"/>
                </a:cxn>
                <a:cxn ang="0">
                  <a:pos x="28" y="14"/>
                </a:cxn>
                <a:cxn ang="0">
                  <a:pos x="31" y="14"/>
                </a:cxn>
                <a:cxn ang="0">
                  <a:pos x="32" y="15"/>
                </a:cxn>
                <a:cxn ang="0">
                  <a:pos x="32" y="31"/>
                </a:cxn>
              </a:cxnLst>
              <a:rect l="0" t="0" r="r" b="b"/>
              <a:pathLst>
                <a:path w="55" h="55">
                  <a:moveTo>
                    <a:pt x="27" y="55"/>
                  </a:moveTo>
                  <a:cubicBezTo>
                    <a:pt x="12" y="55"/>
                    <a:pt x="0" y="42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5" y="12"/>
                    <a:pt x="55" y="27"/>
                  </a:cubicBezTo>
                  <a:cubicBezTo>
                    <a:pt x="55" y="42"/>
                    <a:pt x="42" y="55"/>
                    <a:pt x="27" y="55"/>
                  </a:cubicBezTo>
                  <a:close/>
                  <a:moveTo>
                    <a:pt x="27" y="8"/>
                  </a:moveTo>
                  <a:cubicBezTo>
                    <a:pt x="16" y="8"/>
                    <a:pt x="8" y="17"/>
                    <a:pt x="8" y="27"/>
                  </a:cubicBezTo>
                  <a:cubicBezTo>
                    <a:pt x="8" y="38"/>
                    <a:pt x="16" y="47"/>
                    <a:pt x="27" y="47"/>
                  </a:cubicBezTo>
                  <a:cubicBezTo>
                    <a:pt x="38" y="47"/>
                    <a:pt x="47" y="38"/>
                    <a:pt x="47" y="27"/>
                  </a:cubicBezTo>
                  <a:cubicBezTo>
                    <a:pt x="47" y="17"/>
                    <a:pt x="38" y="8"/>
                    <a:pt x="27" y="8"/>
                  </a:cubicBezTo>
                  <a:close/>
                  <a:moveTo>
                    <a:pt x="32" y="31"/>
                  </a:moveTo>
                  <a:cubicBezTo>
                    <a:pt x="32" y="31"/>
                    <a:pt x="31" y="32"/>
                    <a:pt x="31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8" y="31"/>
                    <a:pt x="18" y="31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9" y="27"/>
                    <a:pt x="19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4"/>
                    <a:pt x="28" y="14"/>
                    <a:pt x="28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2" y="14"/>
                    <a:pt x="32" y="15"/>
                  </a:cubicBezTo>
                  <a:lnTo>
                    <a:pt x="32" y="31"/>
                  </a:lnTo>
                  <a:close/>
                </a:path>
              </a:pathLst>
            </a:custGeom>
            <a:solidFill>
              <a:srgbClr val="28517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46681FD3-2126-2064-2BB5-2225A41B0B14}"/>
                </a:ext>
              </a:extLst>
            </p:cNvPr>
            <p:cNvSpPr/>
            <p:nvPr/>
          </p:nvSpPr>
          <p:spPr>
            <a:xfrm>
              <a:off x="1384300" y="2051050"/>
              <a:ext cx="4677194" cy="3257550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e-DE" err="1"/>
            </a:p>
          </p:txBody>
        </p:sp>
      </p:grpSp>
    </p:spTree>
    <p:extLst>
      <p:ext uri="{BB962C8B-B14F-4D97-AF65-F5344CB8AC3E}">
        <p14:creationId xmlns:p14="http://schemas.microsoft.com/office/powerpoint/2010/main" val="14508859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F0E61-5CAB-06FC-ED08-1EE8AE95B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„Smarte“ Zusammenarbei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2D001F-4B71-8322-F091-D1E19B17A8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Ausblick „TCC“ 2027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063F697-AB9D-FAD4-DC97-900FD2388E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7978"/>
          <a:stretch/>
        </p:blipFill>
        <p:spPr>
          <a:xfrm>
            <a:off x="637524" y="1581150"/>
            <a:ext cx="4915552" cy="3877096"/>
          </a:xfrm>
          <a:prstGeom prst="roundRect">
            <a:avLst>
              <a:gd name="adj" fmla="val 2829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27D3C509-E4C2-EBF4-5FA0-CB07594502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1955" y="2202512"/>
            <a:ext cx="6426655" cy="28266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4444238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E6750ACD-F718-6B23-6853-78DB9F8E92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0038" y="288925"/>
            <a:ext cx="9696450" cy="5454253"/>
          </a:xfrm>
          <a:prstGeom prst="roundRect">
            <a:avLst>
              <a:gd name="adj" fmla="val 2223"/>
            </a:avLst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4A86694C-C4EB-1BC4-CB9D-54F2531E9469}"/>
              </a:ext>
            </a:extLst>
          </p:cNvPr>
          <p:cNvSpPr/>
          <p:nvPr/>
        </p:nvSpPr>
        <p:spPr>
          <a:xfrm>
            <a:off x="7910513" y="4695825"/>
            <a:ext cx="3981450" cy="1133475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e-DE" sz="1800"/>
              <a:t>Wir wünschen Ihnen interessante Eindrücke in Ditzingen…</a:t>
            </a:r>
          </a:p>
        </p:txBody>
      </p:sp>
    </p:spTree>
    <p:extLst>
      <p:ext uri="{BB962C8B-B14F-4D97-AF65-F5344CB8AC3E}">
        <p14:creationId xmlns:p14="http://schemas.microsoft.com/office/powerpoint/2010/main" val="345693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PRESENTATION_LANGUAGE" val="103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ba038-093a-4003-8103-c2c49f313e9f"/>
  <p:tag name="MIO_EKGUID" val="567239fd-5ca3-4cb8-8867-588870f59777"/>
  <p:tag name="MIO_UPDATE" val="True"/>
  <p:tag name="MIO_VERSION" val="27.03.2019 12:36:27"/>
  <p:tag name="MIO_DBID" val="8236CE71-3243-41A3-904F-7EA9E80C736A"/>
  <p:tag name="MIO_LASTDOWNLOADED" val="03.05.2022 12:06:36.734"/>
  <p:tag name="MIO_OBJECTNAME" val="Hauptpforte"/>
  <p:tag name="MIO_LASTEDITORNAME" val="empower Brandi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17f5ec4-76cb-4f79-8258-bef92c035aca"/>
  <p:tag name="MIO_EKGUID" val="6cbca026-96ec-4dc8-b397-072a13e83965"/>
  <p:tag name="MIO_UPDATE" val="True"/>
  <p:tag name="MIO_VERSION" val="13.03.2023 13:25:24"/>
  <p:tag name="MIO_DBID" val="8236CE71-3243-41A3-904F-7EA9E80C736A"/>
  <p:tag name="MIO_LASTDOWNLOADED" val="18.04.2023 15:08:06.192"/>
  <p:tag name="MIO_OBJECTNAME" val="Smart Factory"/>
  <p:tag name="MIO_LASTEDITORNAME" val="empower Brand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SHOW_DATE" val="Tru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HDS" val="True"/>
  <p:tag name="MIO_SKIPVERSION" val="01.01.0001 00:00:00"/>
  <p:tag name="MIO_UPDATE" val="True"/>
  <p:tag name="MIO_DBID" val="8236CE71-3243-41A3-904F-7EA9E80C736A"/>
  <p:tag name="MIO_LASTEDITORNAME" val="Katharina Kampen"/>
  <p:tag name="MIO_FALLBACK_LAYOUT" val="6"/>
  <p:tag name="MIO_NUMBER_OF_VALID_LAYOUTS" val="27"/>
  <p:tag name="MIO_EKGUID" val="aa0866db-8b1e-4441-9074-4271c62d3953"/>
  <p:tag name="MIO_VERSION" val="06.12.2022 13:56:25"/>
  <p:tag name="MIO_OBJECTNAME" val="TRUMPF Signet - 100 years DE | EN"/>
  <p:tag name="MIO_LASTDOWNLOADED" val="11.04.2023 10:42:39.881"/>
  <p:tag name="MIO_CDID" val="d30371fb-bd2b-4816-a0ce-bd6a1479ab6b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rumpf PowerPoint 2019">
  <a:themeElements>
    <a:clrScheme name="Trumpf dezent">
      <a:dk1>
        <a:srgbClr val="333333"/>
      </a:dk1>
      <a:lt1>
        <a:srgbClr val="FFFFFF"/>
      </a:lt1>
      <a:dk2>
        <a:srgbClr val="285172"/>
      </a:dk2>
      <a:lt2>
        <a:srgbClr val="FFFFFF"/>
      </a:lt2>
      <a:accent1>
        <a:srgbClr val="575757"/>
      </a:accent1>
      <a:accent2>
        <a:srgbClr val="D0D0D0"/>
      </a:accent2>
      <a:accent3>
        <a:srgbClr val="285172"/>
      </a:accent3>
      <a:accent4>
        <a:srgbClr val="8094AF"/>
      </a:accent4>
      <a:accent5>
        <a:srgbClr val="BBD03A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D746A209-D3A0-42EF-988A-4829135B642B}" vid="{7DF3D1B1-4C56-472B-9565-3D7A511C20EB}"/>
    </a:ext>
  </a:extLst>
</a:theme>
</file>

<file path=ppt/theme/theme2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Trumpf">
      <a:dk1>
        <a:srgbClr val="333333"/>
      </a:dk1>
      <a:lt1>
        <a:srgbClr val="FFFFFF"/>
      </a:lt1>
      <a:dk2>
        <a:srgbClr val="204461"/>
      </a:dk2>
      <a:lt2>
        <a:srgbClr val="FFFFFF"/>
      </a:lt2>
      <a:accent1>
        <a:srgbClr val="707070"/>
      </a:accent1>
      <a:accent2>
        <a:srgbClr val="D0D0D0"/>
      </a:accent2>
      <a:accent3>
        <a:srgbClr val="204461"/>
      </a:accent3>
      <a:accent4>
        <a:srgbClr val="638EBD"/>
      </a:accent4>
      <a:accent5>
        <a:srgbClr val="93C11C"/>
      </a:accent5>
      <a:accent6>
        <a:srgbClr val="6C955E"/>
      </a:accent6>
      <a:hlink>
        <a:srgbClr val="204461"/>
      </a:hlink>
      <a:folHlink>
        <a:srgbClr val="638EBD"/>
      </a:folHlink>
    </a:clrScheme>
    <a:fontScheme name="Benutzerdefiniert 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c70353-449a-458c-af38-81fd801b6559" xsi:nil="true"/>
    <lcf76f155ced4ddcb4097134ff3c332f xmlns="46a56ff4-038c-43a1-8198-66df79d5b4f2">
      <Terms xmlns="http://schemas.microsoft.com/office/infopath/2007/PartnerControls"/>
    </lcf76f155ced4ddcb4097134ff3c332f>
    <Uhrzeit xmlns="46a56ff4-038c-43a1-8198-66df79d5b4f2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DC99EB5B522442BFB271BE36A4F819" ma:contentTypeVersion="17" ma:contentTypeDescription="Ein neues Dokument erstellen." ma:contentTypeScope="" ma:versionID="a70fb71c8d03ff12ade853dbdbf2954b">
  <xsd:schema xmlns:xsd="http://www.w3.org/2001/XMLSchema" xmlns:xs="http://www.w3.org/2001/XMLSchema" xmlns:p="http://schemas.microsoft.com/office/2006/metadata/properties" xmlns:ns2="46a56ff4-038c-43a1-8198-66df79d5b4f2" xmlns:ns3="acc70353-449a-458c-af38-81fd801b6559" targetNamespace="http://schemas.microsoft.com/office/2006/metadata/properties" ma:root="true" ma:fieldsID="3065265883915d1102bea8f7b0131355" ns2:_="" ns3:_="">
    <xsd:import namespace="46a56ff4-038c-43a1-8198-66df79d5b4f2"/>
    <xsd:import namespace="acc70353-449a-458c-af38-81fd801b65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Uhrzeit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56ff4-038c-43a1-8198-66df79d5b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Uhrzeit" ma:index="18" nillable="true" ma:displayName="Uhrzeit" ma:format="DateOnly" ma:internalName="Uhrzeit">
      <xsd:simpleType>
        <xsd:restriction base="dms:DateTime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5e9485e2-df4f-4880-8a81-872be8114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70353-449a-458c-af38-81fd801b655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232400c1-fff9-468c-bdef-2fcd72bfa8a4}" ma:internalName="TaxCatchAll" ma:showField="CatchAllData" ma:web="acc70353-449a-458c-af38-81fd801b655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B7E74D-A22A-4190-B666-1CEFA976D672}">
  <ds:schemaRefs>
    <ds:schemaRef ds:uri="90ed1bf7-83fc-455d-ba27-00cceabe3758"/>
    <ds:schemaRef ds:uri="e9621dcd-59de-421f-9f04-04ef58d2cbc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3163BA2-B800-4C9C-9CE1-F3B8D7E8B189}"/>
</file>

<file path=customXml/itemProps3.xml><?xml version="1.0" encoding="utf-8"?>
<ds:datastoreItem xmlns:ds="http://schemas.openxmlformats.org/officeDocument/2006/customXml" ds:itemID="{DAD364A5-9808-4DEA-B076-BF738C04ACD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902_Trumpf-Master_Dada_v9_Neues-Raster</Template>
  <TotalTime>0</TotalTime>
  <Application>Microsoft Office PowerPoint</Application>
  <PresentationFormat>Widescreen</PresentationFormat>
  <Slides>7</Slides>
  <Notes>6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Trumpf PowerPoint 2019</vt:lpstr>
      <vt:lpstr>Smart Factory TRUMPF</vt:lpstr>
      <vt:lpstr>„Smarte“ Zusammenarbeit  </vt:lpstr>
      <vt:lpstr>„Smarte“ Zusammenarbeit</vt:lpstr>
      <vt:lpstr>„Smarte“ Zusammenarbeit</vt:lpstr>
      <vt:lpstr>„Smarte“ Zusammenarbeit</vt:lpstr>
      <vt:lpstr>„Smarte“ Zusammenarbei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Überschrift in zwei Zeilen</dc:title>
  <dc:creator>Katharina Kampen</dc:creator>
  <cp:revision>1</cp:revision>
  <cp:lastPrinted>2019-01-11T14:04:50Z</cp:lastPrinted>
  <dcterms:created xsi:type="dcterms:W3CDTF">2019-04-11T08:14:40Z</dcterms:created>
  <dcterms:modified xsi:type="dcterms:W3CDTF">2023-04-21T08:3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C99EB5B522442BFB271BE36A4F819</vt:lpwstr>
  </property>
  <property fmtid="{D5CDD505-2E9C-101B-9397-08002B2CF9AE}" pid="3" name="MediaServiceImageTags">
    <vt:lpwstr/>
  </property>
</Properties>
</file>